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1" r:id="rId2"/>
  </p:sldMasterIdLst>
  <p:notesMasterIdLst>
    <p:notesMasterId r:id="rId26"/>
  </p:notesMasterIdLst>
  <p:sldIdLst>
    <p:sldId id="2698" r:id="rId3"/>
    <p:sldId id="2693" r:id="rId4"/>
    <p:sldId id="2710" r:id="rId5"/>
    <p:sldId id="415" r:id="rId6"/>
    <p:sldId id="421" r:id="rId7"/>
    <p:sldId id="2691" r:id="rId8"/>
    <p:sldId id="423" r:id="rId9"/>
    <p:sldId id="271" r:id="rId10"/>
    <p:sldId id="2706" r:id="rId11"/>
    <p:sldId id="2711" r:id="rId12"/>
    <p:sldId id="2708" r:id="rId13"/>
    <p:sldId id="432" r:id="rId14"/>
    <p:sldId id="2709" r:id="rId15"/>
    <p:sldId id="2700" r:id="rId16"/>
    <p:sldId id="2713" r:id="rId17"/>
    <p:sldId id="2717" r:id="rId18"/>
    <p:sldId id="2712" r:id="rId19"/>
    <p:sldId id="433" r:id="rId20"/>
    <p:sldId id="2702" r:id="rId21"/>
    <p:sldId id="426" r:id="rId22"/>
    <p:sldId id="2714" r:id="rId23"/>
    <p:sldId id="2716" r:id="rId24"/>
    <p:sldId id="2715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45556B"/>
    <a:srgbClr val="CC1C06"/>
    <a:srgbClr val="FFFF00"/>
    <a:srgbClr val="66FF66"/>
    <a:srgbClr val="44536A"/>
    <a:srgbClr val="A6A6A6"/>
    <a:srgbClr val="A0D0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241B1F0-2507-4753-9FC0-CA09CD839019}" v="40" dt="2021-12-09T02:17:51.203"/>
    <p1510:client id="{481A3DCA-8784-4555-8F2D-64740DB33D32}" v="307" dt="2021-12-08T04:18:29.223"/>
    <p1510:client id="{48DC136F-D32A-46E3-B0E1-FB114E40E0F4}" v="2" dt="2021-12-08T15:03:02.141"/>
    <p1510:client id="{550CB09E-1B5E-41AA-8C15-C30B77FDD451}" v="11" dt="2021-12-08T02:46:01.287"/>
    <p1510:client id="{62233361-F53B-480C-AC66-79448DA78FDC}" v="112" dt="2021-12-08T15:32:35.590"/>
    <p1510:client id="{74AF2A43-973A-4B3B-88EC-AC565FE1CBE0}" v="71" dt="2021-12-08T08:43:00.152"/>
    <p1510:client id="{74F4E8D6-F43F-48A4-BA81-9DFC3F28E59B}" v="73" dt="2021-12-08T14:37:33.295"/>
    <p1510:client id="{93B70137-BCBC-4843-B6D3-8D79031CCEC5}" v="6" dt="2021-12-08T05:20:55.488"/>
    <p1510:client id="{AB139BD5-516C-40B4-AAB8-3CC045D8631F}" v="16" dt="2021-12-08T05:44:31.534"/>
    <p1510:client id="{AB174616-59E6-463F-B358-A1FBC232BE2A}" v="12" dt="2021-12-08T02:38:10.695"/>
    <p1510:client id="{D8E69C04-CF73-43D4-84E9-719D23583663}" v="1278" dt="2021-12-08T17:47:56.081"/>
    <p1510:client id="{E74E7A93-5312-4578-AFC3-9889B05B145E}" v="14" dt="2021-12-08T18:10:48.887"/>
    <p1510:client id="{EE701650-9650-41C2-A0C0-393E5F432286}" v="571" dt="2021-12-08T18:13:10.318"/>
    <p1510:client id="{F7E346A8-2FF6-4ADE-A800-2ED4BEACB50C}" v="118" dt="2021-12-08T02:34:45.39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Umamahesh, Adithya Bharadwaj" userId="S::aumamahe@purdue.edu::bae0ce40-ba58-49ae-96cc-3750cbefba2b" providerId="AD" clId="Web-{EE701650-9650-41C2-A0C0-393E5F432286}"/>
    <pc:docChg chg="addSld delSld modSld sldOrd">
      <pc:chgData name="Umamahesh, Adithya Bharadwaj" userId="S::aumamahe@purdue.edu::bae0ce40-ba58-49ae-96cc-3750cbefba2b" providerId="AD" clId="Web-{EE701650-9650-41C2-A0C0-393E5F432286}" dt="2021-12-08T18:13:10.318" v="343" actId="20577"/>
      <pc:docMkLst>
        <pc:docMk/>
      </pc:docMkLst>
      <pc:sldChg chg="del">
        <pc:chgData name="Umamahesh, Adithya Bharadwaj" userId="S::aumamahe@purdue.edu::bae0ce40-ba58-49ae-96cc-3750cbefba2b" providerId="AD" clId="Web-{EE701650-9650-41C2-A0C0-393E5F432286}" dt="2021-12-08T18:12:20.849" v="337"/>
        <pc:sldMkLst>
          <pc:docMk/>
          <pc:sldMk cId="1733011286" sldId="279"/>
        </pc:sldMkLst>
      </pc:sldChg>
      <pc:sldChg chg="modSp">
        <pc:chgData name="Umamahesh, Adithya Bharadwaj" userId="S::aumamahe@purdue.edu::bae0ce40-ba58-49ae-96cc-3750cbefba2b" providerId="AD" clId="Web-{EE701650-9650-41C2-A0C0-393E5F432286}" dt="2021-12-08T18:13:10.318" v="343" actId="20577"/>
        <pc:sldMkLst>
          <pc:docMk/>
          <pc:sldMk cId="4268043350" sldId="433"/>
        </pc:sldMkLst>
        <pc:spChg chg="mod">
          <ac:chgData name="Umamahesh, Adithya Bharadwaj" userId="S::aumamahe@purdue.edu::bae0ce40-ba58-49ae-96cc-3750cbefba2b" providerId="AD" clId="Web-{EE701650-9650-41C2-A0C0-393E5F432286}" dt="2021-12-08T18:13:10.318" v="343" actId="20577"/>
          <ac:spMkLst>
            <pc:docMk/>
            <pc:sldMk cId="4268043350" sldId="433"/>
            <ac:spMk id="17" creationId="{BE2D84F9-D763-2B47-9523-A49BB1637A57}"/>
          </ac:spMkLst>
        </pc:spChg>
      </pc:sldChg>
      <pc:sldChg chg="del">
        <pc:chgData name="Umamahesh, Adithya Bharadwaj" userId="S::aumamahe@purdue.edu::bae0ce40-ba58-49ae-96cc-3750cbefba2b" providerId="AD" clId="Web-{EE701650-9650-41C2-A0C0-393E5F432286}" dt="2021-12-08T18:12:26.818" v="339"/>
        <pc:sldMkLst>
          <pc:docMk/>
          <pc:sldMk cId="3675959213" sldId="434"/>
        </pc:sldMkLst>
      </pc:sldChg>
      <pc:sldChg chg="del">
        <pc:chgData name="Umamahesh, Adithya Bharadwaj" userId="S::aumamahe@purdue.edu::bae0ce40-ba58-49ae-96cc-3750cbefba2b" providerId="AD" clId="Web-{EE701650-9650-41C2-A0C0-393E5F432286}" dt="2021-12-08T18:12:30.224" v="340"/>
        <pc:sldMkLst>
          <pc:docMk/>
          <pc:sldMk cId="1706630155" sldId="440"/>
        </pc:sldMkLst>
      </pc:sldChg>
      <pc:sldChg chg="del">
        <pc:chgData name="Umamahesh, Adithya Bharadwaj" userId="S::aumamahe@purdue.edu::bae0ce40-ba58-49ae-96cc-3750cbefba2b" providerId="AD" clId="Web-{EE701650-9650-41C2-A0C0-393E5F432286}" dt="2021-12-08T18:12:24.303" v="338"/>
        <pc:sldMkLst>
          <pc:docMk/>
          <pc:sldMk cId="2009368706" sldId="2694"/>
        </pc:sldMkLst>
      </pc:sldChg>
      <pc:sldChg chg="modSp">
        <pc:chgData name="Umamahesh, Adithya Bharadwaj" userId="S::aumamahe@purdue.edu::bae0ce40-ba58-49ae-96cc-3750cbefba2b" providerId="AD" clId="Web-{EE701650-9650-41C2-A0C0-393E5F432286}" dt="2021-12-08T18:08:51.179" v="299" actId="20577"/>
        <pc:sldMkLst>
          <pc:docMk/>
          <pc:sldMk cId="1670094585" sldId="2713"/>
        </pc:sldMkLst>
        <pc:spChg chg="mod">
          <ac:chgData name="Umamahesh, Adithya Bharadwaj" userId="S::aumamahe@purdue.edu::bae0ce40-ba58-49ae-96cc-3750cbefba2b" providerId="AD" clId="Web-{EE701650-9650-41C2-A0C0-393E5F432286}" dt="2021-12-08T18:08:51.179" v="299" actId="20577"/>
          <ac:spMkLst>
            <pc:docMk/>
            <pc:sldMk cId="1670094585" sldId="2713"/>
            <ac:spMk id="4" creationId="{CE0F4C06-82C6-4EBB-A8D1-3E95EC03335B}"/>
          </ac:spMkLst>
        </pc:spChg>
      </pc:sldChg>
      <pc:sldChg chg="addSp delSp modSp add ord replId">
        <pc:chgData name="Umamahesh, Adithya Bharadwaj" userId="S::aumamahe@purdue.edu::bae0ce40-ba58-49ae-96cc-3750cbefba2b" providerId="AD" clId="Web-{EE701650-9650-41C2-A0C0-393E5F432286}" dt="2021-12-08T17:50:55.107" v="227" actId="1076"/>
        <pc:sldMkLst>
          <pc:docMk/>
          <pc:sldMk cId="683985790" sldId="2714"/>
        </pc:sldMkLst>
        <pc:spChg chg="mod">
          <ac:chgData name="Umamahesh, Adithya Bharadwaj" userId="S::aumamahe@purdue.edu::bae0ce40-ba58-49ae-96cc-3750cbefba2b" providerId="AD" clId="Web-{EE701650-9650-41C2-A0C0-393E5F432286}" dt="2021-12-08T17:50:55.107" v="227" actId="1076"/>
          <ac:spMkLst>
            <pc:docMk/>
            <pc:sldMk cId="683985790" sldId="2714"/>
            <ac:spMk id="2" creationId="{74FECA68-23D4-4B42-9848-3115D44CB3C9}"/>
          </ac:spMkLst>
        </pc:spChg>
        <pc:spChg chg="del">
          <ac:chgData name="Umamahesh, Adithya Bharadwaj" userId="S::aumamahe@purdue.edu::bae0ce40-ba58-49ae-96cc-3750cbefba2b" providerId="AD" clId="Web-{EE701650-9650-41C2-A0C0-393E5F432286}" dt="2021-12-08T17:36:09.988" v="14"/>
          <ac:spMkLst>
            <pc:docMk/>
            <pc:sldMk cId="683985790" sldId="2714"/>
            <ac:spMk id="3" creationId="{80ACB22A-C4B7-4AE7-A236-7778665EB1A6}"/>
          </ac:spMkLst>
        </pc:spChg>
        <pc:spChg chg="mod">
          <ac:chgData name="Umamahesh, Adithya Bharadwaj" userId="S::aumamahe@purdue.edu::bae0ce40-ba58-49ae-96cc-3750cbefba2b" providerId="AD" clId="Web-{EE701650-9650-41C2-A0C0-393E5F432286}" dt="2021-12-08T17:35:44.878" v="10" actId="20577"/>
          <ac:spMkLst>
            <pc:docMk/>
            <pc:sldMk cId="683985790" sldId="2714"/>
            <ac:spMk id="7" creationId="{35C371CC-3336-41A3-BB34-6E2A0C172BE3}"/>
          </ac:spMkLst>
        </pc:spChg>
        <pc:spChg chg="del">
          <ac:chgData name="Umamahesh, Adithya Bharadwaj" userId="S::aumamahe@purdue.edu::bae0ce40-ba58-49ae-96cc-3750cbefba2b" providerId="AD" clId="Web-{EE701650-9650-41C2-A0C0-393E5F432286}" dt="2021-12-08T17:35:51.581" v="13"/>
          <ac:spMkLst>
            <pc:docMk/>
            <pc:sldMk cId="683985790" sldId="2714"/>
            <ac:spMk id="8" creationId="{F9CBA5CE-1959-4B22-A214-978D4DA4E90B}"/>
          </ac:spMkLst>
        </pc:spChg>
        <pc:spChg chg="add del mod">
          <ac:chgData name="Umamahesh, Adithya Bharadwaj" userId="S::aumamahe@purdue.edu::bae0ce40-ba58-49ae-96cc-3750cbefba2b" providerId="AD" clId="Web-{EE701650-9650-41C2-A0C0-393E5F432286}" dt="2021-12-08T17:43:53.297" v="185"/>
          <ac:spMkLst>
            <pc:docMk/>
            <pc:sldMk cId="683985790" sldId="2714"/>
            <ac:spMk id="10" creationId="{CB9B998A-9C74-44C4-83F6-6320775D8F49}"/>
          </ac:spMkLst>
        </pc:spChg>
        <pc:picChg chg="del">
          <ac:chgData name="Umamahesh, Adithya Bharadwaj" userId="S::aumamahe@purdue.edu::bae0ce40-ba58-49ae-96cc-3750cbefba2b" providerId="AD" clId="Web-{EE701650-9650-41C2-A0C0-393E5F432286}" dt="2021-12-08T17:35:47.800" v="11"/>
          <ac:picMkLst>
            <pc:docMk/>
            <pc:sldMk cId="683985790" sldId="2714"/>
            <ac:picMk id="4" creationId="{A30F0F52-C137-48AE-A8F5-AB183966C9F1}"/>
          </ac:picMkLst>
        </pc:picChg>
        <pc:picChg chg="del">
          <ac:chgData name="Umamahesh, Adithya Bharadwaj" userId="S::aumamahe@purdue.edu::bae0ce40-ba58-49ae-96cc-3750cbefba2b" providerId="AD" clId="Web-{EE701650-9650-41C2-A0C0-393E5F432286}" dt="2021-12-08T17:35:49.269" v="12"/>
          <ac:picMkLst>
            <pc:docMk/>
            <pc:sldMk cId="683985790" sldId="2714"/>
            <ac:picMk id="9" creationId="{40951BDF-C3B8-4FF0-861F-89852BBD5821}"/>
          </ac:picMkLst>
        </pc:picChg>
        <pc:picChg chg="add mod">
          <ac:chgData name="Umamahesh, Adithya Bharadwaj" userId="S::aumamahe@purdue.edu::bae0ce40-ba58-49ae-96cc-3750cbefba2b" providerId="AD" clId="Web-{EE701650-9650-41C2-A0C0-393E5F432286}" dt="2021-12-08T17:49:49.092" v="217" actId="1076"/>
          <ac:picMkLst>
            <pc:docMk/>
            <pc:sldMk cId="683985790" sldId="2714"/>
            <ac:picMk id="11" creationId="{02FE8342-C621-410C-A3F2-B763403CCF29}"/>
          </ac:picMkLst>
        </pc:picChg>
        <pc:picChg chg="add mod">
          <ac:chgData name="Umamahesh, Adithya Bharadwaj" userId="S::aumamahe@purdue.edu::bae0ce40-ba58-49ae-96cc-3750cbefba2b" providerId="AD" clId="Web-{EE701650-9650-41C2-A0C0-393E5F432286}" dt="2021-12-08T17:50:40.263" v="219" actId="1076"/>
          <ac:picMkLst>
            <pc:docMk/>
            <pc:sldMk cId="683985790" sldId="2714"/>
            <ac:picMk id="12" creationId="{024FD4C8-7E54-4FF0-AFAD-8F11CA17789F}"/>
          </ac:picMkLst>
        </pc:picChg>
      </pc:sldChg>
      <pc:sldChg chg="addSp delSp modSp add replId">
        <pc:chgData name="Umamahesh, Adithya Bharadwaj" userId="S::aumamahe@purdue.edu::bae0ce40-ba58-49ae-96cc-3750cbefba2b" providerId="AD" clId="Web-{EE701650-9650-41C2-A0C0-393E5F432286}" dt="2021-12-08T18:05:32.227" v="290" actId="20577"/>
        <pc:sldMkLst>
          <pc:docMk/>
          <pc:sldMk cId="2811247537" sldId="2715"/>
        </pc:sldMkLst>
        <pc:spChg chg="del">
          <ac:chgData name="Umamahesh, Adithya Bharadwaj" userId="S::aumamahe@purdue.edu::bae0ce40-ba58-49ae-96cc-3750cbefba2b" providerId="AD" clId="Web-{EE701650-9650-41C2-A0C0-393E5F432286}" dt="2021-12-08T17:49:05.920" v="198"/>
          <ac:spMkLst>
            <pc:docMk/>
            <pc:sldMk cId="2811247537" sldId="2715"/>
            <ac:spMk id="2" creationId="{74FECA68-23D4-4B42-9848-3115D44CB3C9}"/>
          </ac:spMkLst>
        </pc:spChg>
        <pc:spChg chg="mod">
          <ac:chgData name="Umamahesh, Adithya Bharadwaj" userId="S::aumamahe@purdue.edu::bae0ce40-ba58-49ae-96cc-3750cbefba2b" providerId="AD" clId="Web-{EE701650-9650-41C2-A0C0-393E5F432286}" dt="2021-12-08T18:05:32.227" v="290" actId="20577"/>
          <ac:spMkLst>
            <pc:docMk/>
            <pc:sldMk cId="2811247537" sldId="2715"/>
            <ac:spMk id="7" creationId="{35C371CC-3336-41A3-BB34-6E2A0C172BE3}"/>
          </ac:spMkLst>
        </pc:spChg>
        <pc:picChg chg="add mod">
          <ac:chgData name="Umamahesh, Adithya Bharadwaj" userId="S::aumamahe@purdue.edu::bae0ce40-ba58-49ae-96cc-3750cbefba2b" providerId="AD" clId="Web-{EE701650-9650-41C2-A0C0-393E5F432286}" dt="2021-12-08T17:49:18.295" v="203" actId="1076"/>
          <ac:picMkLst>
            <pc:docMk/>
            <pc:sldMk cId="2811247537" sldId="2715"/>
            <ac:picMk id="3" creationId="{609FA231-40EA-4B48-A634-65086CD66A81}"/>
          </ac:picMkLst>
        </pc:picChg>
      </pc:sldChg>
      <pc:sldChg chg="addSp delSp modSp add ord replId">
        <pc:chgData name="Umamahesh, Adithya Bharadwaj" userId="S::aumamahe@purdue.edu::bae0ce40-ba58-49ae-96cc-3750cbefba2b" providerId="AD" clId="Web-{EE701650-9650-41C2-A0C0-393E5F432286}" dt="2021-12-08T18:05:22.336" v="285" actId="20577"/>
        <pc:sldMkLst>
          <pc:docMk/>
          <pc:sldMk cId="324113700" sldId="2716"/>
        </pc:sldMkLst>
        <pc:spChg chg="add del mod">
          <ac:chgData name="Umamahesh, Adithya Bharadwaj" userId="S::aumamahe@purdue.edu::bae0ce40-ba58-49ae-96cc-3750cbefba2b" providerId="AD" clId="Web-{EE701650-9650-41C2-A0C0-393E5F432286}" dt="2021-12-08T18:01:57.603" v="241"/>
          <ac:spMkLst>
            <pc:docMk/>
            <pc:sldMk cId="324113700" sldId="2716"/>
            <ac:spMk id="2" creationId="{309391D6-8CF8-480C-85C0-D2394D0912F0}"/>
          </ac:spMkLst>
        </pc:spChg>
        <pc:spChg chg="mod">
          <ac:chgData name="Umamahesh, Adithya Bharadwaj" userId="S::aumamahe@purdue.edu::bae0ce40-ba58-49ae-96cc-3750cbefba2b" providerId="AD" clId="Web-{EE701650-9650-41C2-A0C0-393E5F432286}" dt="2021-12-08T18:05:22.336" v="285" actId="20577"/>
          <ac:spMkLst>
            <pc:docMk/>
            <pc:sldMk cId="324113700" sldId="2716"/>
            <ac:spMk id="7" creationId="{35C371CC-3336-41A3-BB34-6E2A0C172BE3}"/>
          </ac:spMkLst>
        </pc:spChg>
        <pc:spChg chg="add mod">
          <ac:chgData name="Umamahesh, Adithya Bharadwaj" userId="S::aumamahe@purdue.edu::bae0ce40-ba58-49ae-96cc-3750cbefba2b" providerId="AD" clId="Web-{EE701650-9650-41C2-A0C0-393E5F432286}" dt="2021-12-08T18:03:12.650" v="268" actId="20577"/>
          <ac:spMkLst>
            <pc:docMk/>
            <pc:sldMk cId="324113700" sldId="2716"/>
            <ac:spMk id="10" creationId="{C9842119-32F8-45CE-BCFD-37FE67FFFC7F}"/>
          </ac:spMkLst>
        </pc:spChg>
        <pc:spChg chg="add mod">
          <ac:chgData name="Umamahesh, Adithya Bharadwaj" userId="S::aumamahe@purdue.edu::bae0ce40-ba58-49ae-96cc-3750cbefba2b" providerId="AD" clId="Web-{EE701650-9650-41C2-A0C0-393E5F432286}" dt="2021-12-08T18:05:08.977" v="283" actId="20577"/>
          <ac:spMkLst>
            <pc:docMk/>
            <pc:sldMk cId="324113700" sldId="2716"/>
            <ac:spMk id="12" creationId="{886635FE-91E3-4381-AAB8-16F5BE9F5C31}"/>
          </ac:spMkLst>
        </pc:spChg>
        <pc:picChg chg="del">
          <ac:chgData name="Umamahesh, Adithya Bharadwaj" userId="S::aumamahe@purdue.edu::bae0ce40-ba58-49ae-96cc-3750cbefba2b" providerId="AD" clId="Web-{EE701650-9650-41C2-A0C0-393E5F432286}" dt="2021-12-08T18:00:11.041" v="232"/>
          <ac:picMkLst>
            <pc:docMk/>
            <pc:sldMk cId="324113700" sldId="2716"/>
            <ac:picMk id="3" creationId="{609FA231-40EA-4B48-A634-65086CD66A81}"/>
          </ac:picMkLst>
        </pc:picChg>
        <pc:picChg chg="add mod">
          <ac:chgData name="Umamahesh, Adithya Bharadwaj" userId="S::aumamahe@purdue.edu::bae0ce40-ba58-49ae-96cc-3750cbefba2b" providerId="AD" clId="Web-{EE701650-9650-41C2-A0C0-393E5F432286}" dt="2021-12-08T18:02:08.806" v="246" actId="1076"/>
          <ac:picMkLst>
            <pc:docMk/>
            <pc:sldMk cId="324113700" sldId="2716"/>
            <ac:picMk id="4" creationId="{49501820-2793-4678-832B-B4AEE44DDED8}"/>
          </ac:picMkLst>
        </pc:picChg>
        <pc:picChg chg="add mod">
          <ac:chgData name="Umamahesh, Adithya Bharadwaj" userId="S::aumamahe@purdue.edu::bae0ce40-ba58-49ae-96cc-3750cbefba2b" providerId="AD" clId="Web-{EE701650-9650-41C2-A0C0-393E5F432286}" dt="2021-12-08T18:02:34.072" v="248" actId="1076"/>
          <ac:picMkLst>
            <pc:docMk/>
            <pc:sldMk cId="324113700" sldId="2716"/>
            <ac:picMk id="8" creationId="{57482210-2896-4E52-A28C-066560EF01E7}"/>
          </ac:picMkLst>
        </pc:picChg>
        <pc:picChg chg="add mod">
          <ac:chgData name="Umamahesh, Adithya Bharadwaj" userId="S::aumamahe@purdue.edu::bae0ce40-ba58-49ae-96cc-3750cbefba2b" providerId="AD" clId="Web-{EE701650-9650-41C2-A0C0-393E5F432286}" dt="2021-12-08T18:04:53.258" v="270" actId="1076"/>
          <ac:picMkLst>
            <pc:docMk/>
            <pc:sldMk cId="324113700" sldId="2716"/>
            <ac:picMk id="11" creationId="{F8569F5B-095E-4905-82F3-36FC028C1ED1}"/>
          </ac:picMkLst>
        </pc:picChg>
      </pc:sldChg>
      <pc:sldChg chg="addSp delSp modSp add replId">
        <pc:chgData name="Umamahesh, Adithya Bharadwaj" userId="S::aumamahe@purdue.edu::bae0ce40-ba58-49ae-96cc-3750cbefba2b" providerId="AD" clId="Web-{EE701650-9650-41C2-A0C0-393E5F432286}" dt="2021-12-08T18:12:13.068" v="336" actId="1076"/>
        <pc:sldMkLst>
          <pc:docMk/>
          <pc:sldMk cId="2821132257" sldId="2717"/>
        </pc:sldMkLst>
        <pc:spChg chg="mod">
          <ac:chgData name="Umamahesh, Adithya Bharadwaj" userId="S::aumamahe@purdue.edu::bae0ce40-ba58-49ae-96cc-3750cbefba2b" providerId="AD" clId="Web-{EE701650-9650-41C2-A0C0-393E5F432286}" dt="2021-12-08T18:09:09.007" v="306" actId="1076"/>
          <ac:spMkLst>
            <pc:docMk/>
            <pc:sldMk cId="2821132257" sldId="2717"/>
            <ac:spMk id="4" creationId="{CE0F4C06-82C6-4EBB-A8D1-3E95EC03335B}"/>
          </ac:spMkLst>
        </pc:spChg>
        <pc:spChg chg="add mod">
          <ac:chgData name="Umamahesh, Adithya Bharadwaj" userId="S::aumamahe@purdue.edu::bae0ce40-ba58-49ae-96cc-3750cbefba2b" providerId="AD" clId="Web-{EE701650-9650-41C2-A0C0-393E5F432286}" dt="2021-12-08T18:10:54.741" v="323" actId="1076"/>
          <ac:spMkLst>
            <pc:docMk/>
            <pc:sldMk cId="2821132257" sldId="2717"/>
            <ac:spMk id="9" creationId="{7F303938-5262-4191-A2C0-734879C116AF}"/>
          </ac:spMkLst>
        </pc:spChg>
        <pc:spChg chg="add mod">
          <ac:chgData name="Umamahesh, Adithya Bharadwaj" userId="S::aumamahe@purdue.edu::bae0ce40-ba58-49ae-96cc-3750cbefba2b" providerId="AD" clId="Web-{EE701650-9650-41C2-A0C0-393E5F432286}" dt="2021-12-08T18:12:13.068" v="336" actId="1076"/>
          <ac:spMkLst>
            <pc:docMk/>
            <pc:sldMk cId="2821132257" sldId="2717"/>
            <ac:spMk id="11" creationId="{38C7B809-2367-4ABC-A535-DDB2BDA615DB}"/>
          </ac:spMkLst>
        </pc:spChg>
        <pc:spChg chg="mod">
          <ac:chgData name="Umamahesh, Adithya Bharadwaj" userId="S::aumamahe@purdue.edu::bae0ce40-ba58-49ae-96cc-3750cbefba2b" providerId="AD" clId="Web-{EE701650-9650-41C2-A0C0-393E5F432286}" dt="2021-12-08T18:11:01.959" v="334" actId="20577"/>
          <ac:spMkLst>
            <pc:docMk/>
            <pc:sldMk cId="2821132257" sldId="2717"/>
            <ac:spMk id="23" creationId="{050055D8-B216-43D3-B844-16C232E67075}"/>
          </ac:spMkLst>
        </pc:spChg>
        <pc:spChg chg="mod">
          <ac:chgData name="Umamahesh, Adithya Bharadwaj" userId="S::aumamahe@purdue.edu::bae0ce40-ba58-49ae-96cc-3750cbefba2b" providerId="AD" clId="Web-{EE701650-9650-41C2-A0C0-393E5F432286}" dt="2021-12-08T18:09:12.444" v="307" actId="1076"/>
          <ac:spMkLst>
            <pc:docMk/>
            <pc:sldMk cId="2821132257" sldId="2717"/>
            <ac:spMk id="71" creationId="{E7A7C428-A29D-49A9-8B57-FE1DAA11F218}"/>
          </ac:spMkLst>
        </pc:spChg>
        <pc:picChg chg="del">
          <ac:chgData name="Umamahesh, Adithya Bharadwaj" userId="S::aumamahe@purdue.edu::bae0ce40-ba58-49ae-96cc-3750cbefba2b" providerId="AD" clId="Web-{EE701650-9650-41C2-A0C0-393E5F432286}" dt="2021-12-08T18:08:36.523" v="292"/>
          <ac:picMkLst>
            <pc:docMk/>
            <pc:sldMk cId="2821132257" sldId="2717"/>
            <ac:picMk id="2" creationId="{1968913F-1FBA-4001-84B9-388DBD9F3BA3}"/>
          </ac:picMkLst>
        </pc:picChg>
        <pc:picChg chg="add mod">
          <ac:chgData name="Umamahesh, Adithya Bharadwaj" userId="S::aumamahe@purdue.edu::bae0ce40-ba58-49ae-96cc-3750cbefba2b" providerId="AD" clId="Web-{EE701650-9650-41C2-A0C0-393E5F432286}" dt="2021-12-08T18:09:04.788" v="305" actId="1076"/>
          <ac:picMkLst>
            <pc:docMk/>
            <pc:sldMk cId="2821132257" sldId="2717"/>
            <ac:picMk id="3" creationId="{A510A4FF-1279-4175-BCCE-6D22137A67C6}"/>
          </ac:picMkLst>
        </pc:picChg>
        <pc:picChg chg="mod">
          <ac:chgData name="Umamahesh, Adithya Bharadwaj" userId="S::aumamahe@purdue.edu::bae0ce40-ba58-49ae-96cc-3750cbefba2b" providerId="AD" clId="Web-{EE701650-9650-41C2-A0C0-393E5F432286}" dt="2021-12-08T18:09:15.429" v="308" actId="1076"/>
          <ac:picMkLst>
            <pc:docMk/>
            <pc:sldMk cId="2821132257" sldId="2717"/>
            <ac:picMk id="5" creationId="{744719E6-4046-465C-85B2-377AF2466BBE}"/>
          </ac:picMkLst>
        </pc:picChg>
        <pc:picChg chg="del">
          <ac:chgData name="Umamahesh, Adithya Bharadwaj" userId="S::aumamahe@purdue.edu::bae0ce40-ba58-49ae-96cc-3750cbefba2b" providerId="AD" clId="Web-{EE701650-9650-41C2-A0C0-393E5F432286}" dt="2021-12-08T18:09:17.397" v="309"/>
          <ac:picMkLst>
            <pc:docMk/>
            <pc:sldMk cId="2821132257" sldId="2717"/>
            <ac:picMk id="6" creationId="{591AB017-5F8A-4E2A-8AA0-5457A5667950}"/>
          </ac:picMkLst>
        </pc:picChg>
        <pc:picChg chg="add del mod">
          <ac:chgData name="Umamahesh, Adithya Bharadwaj" userId="S::aumamahe@purdue.edu::bae0ce40-ba58-49ae-96cc-3750cbefba2b" providerId="AD" clId="Web-{EE701650-9650-41C2-A0C0-393E5F432286}" dt="2021-12-08T18:10:56.319" v="324"/>
          <ac:picMkLst>
            <pc:docMk/>
            <pc:sldMk cId="2821132257" sldId="2717"/>
            <ac:picMk id="8" creationId="{1E46638B-F18F-4A22-A94D-AE77B4CFF476}"/>
          </ac:picMkLst>
        </pc:picChg>
      </pc:sldChg>
    </pc:docChg>
  </pc:docChgLst>
  <pc:docChgLst>
    <pc:chgData name="Umamahesh, Adithya Bharadwaj" userId="S::aumamahe@purdue.edu::bae0ce40-ba58-49ae-96cc-3750cbefba2b" providerId="AD" clId="Web-{AB174616-59E6-463F-B358-A1FBC232BE2A}"/>
    <pc:docChg chg="modSld">
      <pc:chgData name="Umamahesh, Adithya Bharadwaj" userId="S::aumamahe@purdue.edu::bae0ce40-ba58-49ae-96cc-3750cbefba2b" providerId="AD" clId="Web-{AB174616-59E6-463F-B358-A1FBC232BE2A}" dt="2021-12-08T02:38:10.695" v="11" actId="14100"/>
      <pc:docMkLst>
        <pc:docMk/>
      </pc:docMkLst>
      <pc:sldChg chg="addSp modSp">
        <pc:chgData name="Umamahesh, Adithya Bharadwaj" userId="S::aumamahe@purdue.edu::bae0ce40-ba58-49ae-96cc-3750cbefba2b" providerId="AD" clId="Web-{AB174616-59E6-463F-B358-A1FBC232BE2A}" dt="2021-12-08T02:38:10.695" v="11" actId="14100"/>
        <pc:sldMkLst>
          <pc:docMk/>
          <pc:sldMk cId="3734496598" sldId="2706"/>
        </pc:sldMkLst>
        <pc:spChg chg="add mod ord">
          <ac:chgData name="Umamahesh, Adithya Bharadwaj" userId="S::aumamahe@purdue.edu::bae0ce40-ba58-49ae-96cc-3750cbefba2b" providerId="AD" clId="Web-{AB174616-59E6-463F-B358-A1FBC232BE2A}" dt="2021-12-08T02:38:10.695" v="11" actId="14100"/>
          <ac:spMkLst>
            <pc:docMk/>
            <pc:sldMk cId="3734496598" sldId="2706"/>
            <ac:spMk id="2" creationId="{CDD324B7-ED84-4F1D-8F6C-EEA42A2A9B07}"/>
          </ac:spMkLst>
        </pc:spChg>
        <pc:spChg chg="mod">
          <ac:chgData name="Umamahesh, Adithya Bharadwaj" userId="S::aumamahe@purdue.edu::bae0ce40-ba58-49ae-96cc-3750cbefba2b" providerId="AD" clId="Web-{AB174616-59E6-463F-B358-A1FBC232BE2A}" dt="2021-12-08T02:37:47.851" v="6" actId="1076"/>
          <ac:spMkLst>
            <pc:docMk/>
            <pc:sldMk cId="3734496598" sldId="2706"/>
            <ac:spMk id="120" creationId="{4FFC5BF5-63C8-43C0-9B51-05A0554F85F4}"/>
          </ac:spMkLst>
        </pc:spChg>
      </pc:sldChg>
    </pc:docChg>
  </pc:docChgLst>
  <pc:docChgLst>
    <pc:chgData name="Soni, Vineet Suhas" userId="S::vsoni@purdue.edu::7fa9341a-cabe-4797-868c-5a4860af8213" providerId="AD" clId="Web-{86F98D5A-EF12-4610-8CC4-FD08048E7F8C}"/>
    <pc:docChg chg="modSld">
      <pc:chgData name="Soni, Vineet Suhas" userId="S::vsoni@purdue.edu::7fa9341a-cabe-4797-868c-5a4860af8213" providerId="AD" clId="Web-{86F98D5A-EF12-4610-8CC4-FD08048E7F8C}" dt="2021-12-08T01:52:04.094" v="8" actId="20577"/>
      <pc:docMkLst>
        <pc:docMk/>
      </pc:docMkLst>
      <pc:sldChg chg="modSp">
        <pc:chgData name="Soni, Vineet Suhas" userId="S::vsoni@purdue.edu::7fa9341a-cabe-4797-868c-5a4860af8213" providerId="AD" clId="Web-{86F98D5A-EF12-4610-8CC4-FD08048E7F8C}" dt="2021-12-08T01:52:04.094" v="8" actId="20577"/>
        <pc:sldMkLst>
          <pc:docMk/>
          <pc:sldMk cId="3734496598" sldId="2706"/>
        </pc:sldMkLst>
        <pc:spChg chg="mod">
          <ac:chgData name="Soni, Vineet Suhas" userId="S::vsoni@purdue.edu::7fa9341a-cabe-4797-868c-5a4860af8213" providerId="AD" clId="Web-{86F98D5A-EF12-4610-8CC4-FD08048E7F8C}" dt="2021-12-08T01:51:09.829" v="1" actId="20577"/>
          <ac:spMkLst>
            <pc:docMk/>
            <pc:sldMk cId="3734496598" sldId="2706"/>
            <ac:spMk id="120" creationId="{4FFC5BF5-63C8-43C0-9B51-05A0554F85F4}"/>
          </ac:spMkLst>
        </pc:spChg>
        <pc:spChg chg="mod">
          <ac:chgData name="Soni, Vineet Suhas" userId="S::vsoni@purdue.edu::7fa9341a-cabe-4797-868c-5a4860af8213" providerId="AD" clId="Web-{86F98D5A-EF12-4610-8CC4-FD08048E7F8C}" dt="2021-12-08T01:51:15.204" v="2" actId="20577"/>
          <ac:spMkLst>
            <pc:docMk/>
            <pc:sldMk cId="3734496598" sldId="2706"/>
            <ac:spMk id="121" creationId="{A9E78826-6B60-4734-967D-4C3D5BA2E2C1}"/>
          </ac:spMkLst>
        </pc:spChg>
        <pc:spChg chg="mod">
          <ac:chgData name="Soni, Vineet Suhas" userId="S::vsoni@purdue.edu::7fa9341a-cabe-4797-868c-5a4860af8213" providerId="AD" clId="Web-{86F98D5A-EF12-4610-8CC4-FD08048E7F8C}" dt="2021-12-08T01:51:21.220" v="4" actId="20577"/>
          <ac:spMkLst>
            <pc:docMk/>
            <pc:sldMk cId="3734496598" sldId="2706"/>
            <ac:spMk id="122" creationId="{BAE61534-2E6B-4949-9C54-ECC679663633}"/>
          </ac:spMkLst>
        </pc:spChg>
        <pc:spChg chg="mod">
          <ac:chgData name="Soni, Vineet Suhas" userId="S::vsoni@purdue.edu::7fa9341a-cabe-4797-868c-5a4860af8213" providerId="AD" clId="Web-{86F98D5A-EF12-4610-8CC4-FD08048E7F8C}" dt="2021-12-08T01:52:04.094" v="8" actId="20577"/>
          <ac:spMkLst>
            <pc:docMk/>
            <pc:sldMk cId="3734496598" sldId="2706"/>
            <ac:spMk id="128" creationId="{3393C950-999B-4B88-A849-327D11EE0899}"/>
          </ac:spMkLst>
        </pc:spChg>
      </pc:sldChg>
    </pc:docChg>
  </pc:docChgLst>
  <pc:docChgLst>
    <pc:chgData name="Jain, Shreyansh" userId="S::jain475@purdue.edu::2845c589-ff3c-4dee-bf29-f4bc1a5e1ae1" providerId="AD" clId="Web-{E74E7A93-5312-4578-AFC3-9889B05B145E}"/>
    <pc:docChg chg="modSld">
      <pc:chgData name="Jain, Shreyansh" userId="S::jain475@purdue.edu::2845c589-ff3c-4dee-bf29-f4bc1a5e1ae1" providerId="AD" clId="Web-{E74E7A93-5312-4578-AFC3-9889B05B145E}" dt="2021-12-08T18:10:47.325" v="5" actId="20577"/>
      <pc:docMkLst>
        <pc:docMk/>
      </pc:docMkLst>
      <pc:sldChg chg="modSp">
        <pc:chgData name="Jain, Shreyansh" userId="S::jain475@purdue.edu::2845c589-ff3c-4dee-bf29-f4bc1a5e1ae1" providerId="AD" clId="Web-{E74E7A93-5312-4578-AFC3-9889B05B145E}" dt="2021-12-08T18:10:47.325" v="5" actId="20577"/>
        <pc:sldMkLst>
          <pc:docMk/>
          <pc:sldMk cId="3734496598" sldId="2706"/>
        </pc:sldMkLst>
        <pc:spChg chg="mod">
          <ac:chgData name="Jain, Shreyansh" userId="S::jain475@purdue.edu::2845c589-ff3c-4dee-bf29-f4bc1a5e1ae1" providerId="AD" clId="Web-{E74E7A93-5312-4578-AFC3-9889B05B145E}" dt="2021-12-08T18:10:47.325" v="5" actId="20577"/>
          <ac:spMkLst>
            <pc:docMk/>
            <pc:sldMk cId="3734496598" sldId="2706"/>
            <ac:spMk id="123" creationId="{0722AB56-9D27-438B-8CE7-1096973FF999}"/>
          </ac:spMkLst>
        </pc:spChg>
      </pc:sldChg>
    </pc:docChg>
  </pc:docChgLst>
  <pc:docChgLst>
    <pc:chgData name="Umamahesh, Adithya Bharadwaj" userId="S::aumamahe@purdue.edu::bae0ce40-ba58-49ae-96cc-3750cbefba2b" providerId="AD" clId="Web-{F7E346A8-2FF6-4ADE-A800-2ED4BEACB50C}"/>
    <pc:docChg chg="modSld">
      <pc:chgData name="Umamahesh, Adithya Bharadwaj" userId="S::aumamahe@purdue.edu::bae0ce40-ba58-49ae-96cc-3750cbefba2b" providerId="AD" clId="Web-{F7E346A8-2FF6-4ADE-A800-2ED4BEACB50C}" dt="2021-12-08T02:34:45.397" v="109" actId="1076"/>
      <pc:docMkLst>
        <pc:docMk/>
      </pc:docMkLst>
      <pc:sldChg chg="addSp modSp">
        <pc:chgData name="Umamahesh, Adithya Bharadwaj" userId="S::aumamahe@purdue.edu::bae0ce40-ba58-49ae-96cc-3750cbefba2b" providerId="AD" clId="Web-{F7E346A8-2FF6-4ADE-A800-2ED4BEACB50C}" dt="2021-12-08T02:34:45.397" v="109" actId="1076"/>
        <pc:sldMkLst>
          <pc:docMk/>
          <pc:sldMk cId="3495132288" sldId="271"/>
        </pc:sldMkLst>
        <pc:picChg chg="add mod">
          <ac:chgData name="Umamahesh, Adithya Bharadwaj" userId="S::aumamahe@purdue.edu::bae0ce40-ba58-49ae-96cc-3750cbefba2b" providerId="AD" clId="Web-{F7E346A8-2FF6-4ADE-A800-2ED4BEACB50C}" dt="2021-12-08T02:34:45.397" v="109" actId="1076"/>
          <ac:picMkLst>
            <pc:docMk/>
            <pc:sldMk cId="3495132288" sldId="271"/>
            <ac:picMk id="2" creationId="{71611768-3B32-4057-A919-90FE8EBD9088}"/>
          </ac:picMkLst>
        </pc:picChg>
        <pc:picChg chg="mod">
          <ac:chgData name="Umamahesh, Adithya Bharadwaj" userId="S::aumamahe@purdue.edu::bae0ce40-ba58-49ae-96cc-3750cbefba2b" providerId="AD" clId="Web-{F7E346A8-2FF6-4ADE-A800-2ED4BEACB50C}" dt="2021-12-08T02:34:21.553" v="107" actId="1076"/>
          <ac:picMkLst>
            <pc:docMk/>
            <pc:sldMk cId="3495132288" sldId="271"/>
            <ac:picMk id="1028" creationId="{074E7A05-B6E0-42EF-B796-E4CBDFBF9FE1}"/>
          </ac:picMkLst>
        </pc:picChg>
      </pc:sldChg>
      <pc:sldChg chg="modSp">
        <pc:chgData name="Umamahesh, Adithya Bharadwaj" userId="S::aumamahe@purdue.edu::bae0ce40-ba58-49ae-96cc-3750cbefba2b" providerId="AD" clId="Web-{F7E346A8-2FF6-4ADE-A800-2ED4BEACB50C}" dt="2021-12-08T02:12:34.664" v="3" actId="20577"/>
        <pc:sldMkLst>
          <pc:docMk/>
          <pc:sldMk cId="3064393112" sldId="423"/>
        </pc:sldMkLst>
        <pc:spChg chg="mod">
          <ac:chgData name="Umamahesh, Adithya Bharadwaj" userId="S::aumamahe@purdue.edu::bae0ce40-ba58-49ae-96cc-3750cbefba2b" providerId="AD" clId="Web-{F7E346A8-2FF6-4ADE-A800-2ED4BEACB50C}" dt="2021-12-08T02:12:34.664" v="3" actId="20577"/>
          <ac:spMkLst>
            <pc:docMk/>
            <pc:sldMk cId="3064393112" sldId="423"/>
            <ac:spMk id="25" creationId="{8FE9C847-1B93-43A3-B916-E78713906795}"/>
          </ac:spMkLst>
        </pc:spChg>
      </pc:sldChg>
      <pc:sldChg chg="addSp delSp modSp">
        <pc:chgData name="Umamahesh, Adithya Bharadwaj" userId="S::aumamahe@purdue.edu::bae0ce40-ba58-49ae-96cc-3750cbefba2b" providerId="AD" clId="Web-{F7E346A8-2FF6-4ADE-A800-2ED4BEACB50C}" dt="2021-12-08T02:33:55.506" v="106" actId="1076"/>
        <pc:sldMkLst>
          <pc:docMk/>
          <pc:sldMk cId="3734496598" sldId="2706"/>
        </pc:sldMkLst>
        <pc:spChg chg="del">
          <ac:chgData name="Umamahesh, Adithya Bharadwaj" userId="S::aumamahe@purdue.edu::bae0ce40-ba58-49ae-96cc-3750cbefba2b" providerId="AD" clId="Web-{F7E346A8-2FF6-4ADE-A800-2ED4BEACB50C}" dt="2021-12-08T02:27:02.132" v="5"/>
          <ac:spMkLst>
            <pc:docMk/>
            <pc:sldMk cId="3734496598" sldId="2706"/>
            <ac:spMk id="2" creationId="{2E245954-DC79-4928-9D39-9A1F170D57B8}"/>
          </ac:spMkLst>
        </pc:spChg>
        <pc:spChg chg="add del mod">
          <ac:chgData name="Umamahesh, Adithya Bharadwaj" userId="S::aumamahe@purdue.edu::bae0ce40-ba58-49ae-96cc-3750cbefba2b" providerId="AD" clId="Web-{F7E346A8-2FF6-4ADE-A800-2ED4BEACB50C}" dt="2021-12-08T02:29:07.491" v="26"/>
          <ac:spMkLst>
            <pc:docMk/>
            <pc:sldMk cId="3734496598" sldId="2706"/>
            <ac:spMk id="3" creationId="{EDBC288B-47BA-43F2-AF90-6F211325B553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29:36.100" v="35" actId="1076"/>
          <ac:spMkLst>
            <pc:docMk/>
            <pc:sldMk cId="3734496598" sldId="2706"/>
            <ac:spMk id="15" creationId="{5E920D8F-11A1-4692-BCC2-0C06C46C7138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29:36.116" v="36" actId="1076"/>
          <ac:spMkLst>
            <pc:docMk/>
            <pc:sldMk cId="3734496598" sldId="2706"/>
            <ac:spMk id="20" creationId="{36531F54-ECC8-4697-A3E1-B957BC353732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30:20.913" v="77" actId="1076"/>
          <ac:spMkLst>
            <pc:docMk/>
            <pc:sldMk cId="3734496598" sldId="2706"/>
            <ac:spMk id="37" creationId="{DE2FBB67-E34A-4BD8-9180-9D0DF72046D8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30:08.772" v="66" actId="1076"/>
          <ac:spMkLst>
            <pc:docMk/>
            <pc:sldMk cId="3734496598" sldId="2706"/>
            <ac:spMk id="38" creationId="{8A537673-5469-44AC-9DE6-60E8EE136095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28:13.241" v="22" actId="1076"/>
          <ac:spMkLst>
            <pc:docMk/>
            <pc:sldMk cId="3734496598" sldId="2706"/>
            <ac:spMk id="39" creationId="{A2E5C720-097B-4E45-B76E-FE8ED7DCE248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29:36.225" v="41" actId="1076"/>
          <ac:spMkLst>
            <pc:docMk/>
            <pc:sldMk cId="3734496598" sldId="2706"/>
            <ac:spMk id="40" creationId="{5A299819-3D78-485B-8A67-3DE24BD00C67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30:20.694" v="67" actId="1076"/>
          <ac:spMkLst>
            <pc:docMk/>
            <pc:sldMk cId="3734496598" sldId="2706"/>
            <ac:spMk id="57" creationId="{413D94E8-A61C-40E2-B541-B332BDEBCCB6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30:20.725" v="68" actId="1076"/>
          <ac:spMkLst>
            <pc:docMk/>
            <pc:sldMk cId="3734496598" sldId="2706"/>
            <ac:spMk id="60" creationId="{EDAED089-E598-410E-84D2-7833384C5401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30:20.741" v="69" actId="1076"/>
          <ac:spMkLst>
            <pc:docMk/>
            <pc:sldMk cId="3734496598" sldId="2706"/>
            <ac:spMk id="63" creationId="{13C6C20A-ED6E-4AB0-B32A-023F5A9C74B6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30:20.772" v="70" actId="1076"/>
          <ac:spMkLst>
            <pc:docMk/>
            <pc:sldMk cId="3734496598" sldId="2706"/>
            <ac:spMk id="66" creationId="{BC55EF82-5F39-4FBE-9FB9-F71800FA3BB4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30:20.788" v="71" actId="1076"/>
          <ac:spMkLst>
            <pc:docMk/>
            <pc:sldMk cId="3734496598" sldId="2706"/>
            <ac:spMk id="69" creationId="{ECEB6EB5-9841-4006-A6D2-0A3C75218D4A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28:13.116" v="16" actId="1076"/>
          <ac:spMkLst>
            <pc:docMk/>
            <pc:sldMk cId="3734496598" sldId="2706"/>
            <ac:spMk id="116" creationId="{A3128561-A1B2-4687-8618-227359770898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30:08.647" v="60" actId="1076"/>
          <ac:spMkLst>
            <pc:docMk/>
            <pc:sldMk cId="3734496598" sldId="2706"/>
            <ac:spMk id="117" creationId="{DD06631F-7809-40CB-B3FC-1ABF205F8572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28:13.132" v="17" actId="1076"/>
          <ac:spMkLst>
            <pc:docMk/>
            <pc:sldMk cId="3734496598" sldId="2706"/>
            <ac:spMk id="118" creationId="{95FF522F-BEFF-41DD-91A4-746F3123B63B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30:08.678" v="61" actId="1076"/>
          <ac:spMkLst>
            <pc:docMk/>
            <pc:sldMk cId="3734496598" sldId="2706"/>
            <ac:spMk id="119" creationId="{35A3E92B-CD5C-421A-90F4-89FE407B2469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29:36.147" v="37" actId="1076"/>
          <ac:spMkLst>
            <pc:docMk/>
            <pc:sldMk cId="3734496598" sldId="2706"/>
            <ac:spMk id="120" creationId="{4FFC5BF5-63C8-43C0-9B51-05A0554F85F4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28:13.147" v="18" actId="1076"/>
          <ac:spMkLst>
            <pc:docMk/>
            <pc:sldMk cId="3734496598" sldId="2706"/>
            <ac:spMk id="121" creationId="{A9E78826-6B60-4734-967D-4C3D5BA2E2C1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30:08.694" v="62" actId="1076"/>
          <ac:spMkLst>
            <pc:docMk/>
            <pc:sldMk cId="3734496598" sldId="2706"/>
            <ac:spMk id="122" creationId="{BAE61534-2E6B-4949-9C54-ECC679663633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29:36.163" v="38" actId="1076"/>
          <ac:spMkLst>
            <pc:docMk/>
            <pc:sldMk cId="3734496598" sldId="2706"/>
            <ac:spMk id="123" creationId="{0722AB56-9D27-438B-8CE7-1096973FF999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28:13.178" v="19" actId="1076"/>
          <ac:spMkLst>
            <pc:docMk/>
            <pc:sldMk cId="3734496598" sldId="2706"/>
            <ac:spMk id="124" creationId="{81421612-D948-45B7-A876-8C9DFC6EABE0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30:08.709" v="63" actId="1076"/>
          <ac:spMkLst>
            <pc:docMk/>
            <pc:sldMk cId="3734496598" sldId="2706"/>
            <ac:spMk id="125" creationId="{041F7293-D7C7-4851-8450-9D12CAF0F135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29:36.178" v="39" actId="1076"/>
          <ac:spMkLst>
            <pc:docMk/>
            <pc:sldMk cId="3734496598" sldId="2706"/>
            <ac:spMk id="126" creationId="{319BBAA4-5F35-40F0-9D27-56E1696ACEB3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28:13.194" v="20" actId="1076"/>
          <ac:spMkLst>
            <pc:docMk/>
            <pc:sldMk cId="3734496598" sldId="2706"/>
            <ac:spMk id="127" creationId="{24BEAEDC-1B48-4206-B4FA-5BB5490E82E1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30:08.741" v="64" actId="1076"/>
          <ac:spMkLst>
            <pc:docMk/>
            <pc:sldMk cId="3734496598" sldId="2706"/>
            <ac:spMk id="128" creationId="{3393C950-999B-4B88-A849-327D11EE0899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29:36.209" v="40" actId="1076"/>
          <ac:spMkLst>
            <pc:docMk/>
            <pc:sldMk cId="3734496598" sldId="2706"/>
            <ac:spMk id="129" creationId="{A57A64C0-A34F-4529-A630-75D3C82F5F2D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28:13.225" v="21" actId="1076"/>
          <ac:spMkLst>
            <pc:docMk/>
            <pc:sldMk cId="3734496598" sldId="2706"/>
            <ac:spMk id="130" creationId="{B95026DE-DD33-4A3D-AC73-A52AE90A445B}"/>
          </ac:spMkLst>
        </pc:spChg>
        <pc:spChg chg="mod">
          <ac:chgData name="Umamahesh, Adithya Bharadwaj" userId="S::aumamahe@purdue.edu::bae0ce40-ba58-49ae-96cc-3750cbefba2b" providerId="AD" clId="Web-{F7E346A8-2FF6-4ADE-A800-2ED4BEACB50C}" dt="2021-12-08T02:30:08.756" v="65" actId="1076"/>
          <ac:spMkLst>
            <pc:docMk/>
            <pc:sldMk cId="3734496598" sldId="2706"/>
            <ac:spMk id="131" creationId="{2C134FFD-9053-44B5-B4EC-70E30A459622}"/>
          </ac:spMkLst>
        </pc:spChg>
        <pc:picChg chg="del">
          <ac:chgData name="Umamahesh, Adithya Bharadwaj" userId="S::aumamahe@purdue.edu::bae0ce40-ba58-49ae-96cc-3750cbefba2b" providerId="AD" clId="Web-{F7E346A8-2FF6-4ADE-A800-2ED4BEACB50C}" dt="2021-12-08T02:27:00.475" v="4"/>
          <ac:picMkLst>
            <pc:docMk/>
            <pc:sldMk cId="3734496598" sldId="2706"/>
            <ac:picMk id="4" creationId="{9932F097-6EB2-4F46-ADD2-3029754CC212}"/>
          </ac:picMkLst>
        </pc:picChg>
        <pc:picChg chg="add mod">
          <ac:chgData name="Umamahesh, Adithya Bharadwaj" userId="S::aumamahe@purdue.edu::bae0ce40-ba58-49ae-96cc-3750cbefba2b" providerId="AD" clId="Web-{F7E346A8-2FF6-4ADE-A800-2ED4BEACB50C}" dt="2021-12-08T02:31:55.319" v="90" actId="14100"/>
          <ac:picMkLst>
            <pc:docMk/>
            <pc:sldMk cId="3734496598" sldId="2706"/>
            <ac:picMk id="8" creationId="{C7907437-8BAE-415D-8CA1-F6FF0B5ECB66}"/>
          </ac:picMkLst>
        </pc:picChg>
        <pc:picChg chg="add mod">
          <ac:chgData name="Umamahesh, Adithya Bharadwaj" userId="S::aumamahe@purdue.edu::bae0ce40-ba58-49ae-96cc-3750cbefba2b" providerId="AD" clId="Web-{F7E346A8-2FF6-4ADE-A800-2ED4BEACB50C}" dt="2021-12-08T02:33:09.490" v="105" actId="1076"/>
          <ac:picMkLst>
            <pc:docMk/>
            <pc:sldMk cId="3734496598" sldId="2706"/>
            <ac:picMk id="9" creationId="{5332EAF7-AE65-4A4F-9B77-76A0D4B995CF}"/>
          </ac:picMkLst>
        </pc:picChg>
        <pc:picChg chg="mod">
          <ac:chgData name="Umamahesh, Adithya Bharadwaj" userId="S::aumamahe@purdue.edu::bae0ce40-ba58-49ae-96cc-3750cbefba2b" providerId="AD" clId="Web-{F7E346A8-2FF6-4ADE-A800-2ED4BEACB50C}" dt="2021-12-08T02:30:20.928" v="78" actId="1076"/>
          <ac:picMkLst>
            <pc:docMk/>
            <pc:sldMk cId="3734496598" sldId="2706"/>
            <ac:picMk id="41" creationId="{A0D72DDA-2E10-44E5-87A6-C3AB183B624D}"/>
          </ac:picMkLst>
        </pc:picChg>
        <pc:picChg chg="add del mod">
          <ac:chgData name="Umamahesh, Adithya Bharadwaj" userId="S::aumamahe@purdue.edu::bae0ce40-ba58-49ae-96cc-3750cbefba2b" providerId="AD" clId="Web-{F7E346A8-2FF6-4ADE-A800-2ED4BEACB50C}" dt="2021-12-08T02:31:41.647" v="87"/>
          <ac:picMkLst>
            <pc:docMk/>
            <pc:sldMk cId="3734496598" sldId="2706"/>
            <ac:picMk id="45" creationId="{B645829D-34F1-4F8E-B302-08EED848C882}"/>
          </ac:picMkLst>
        </pc:picChg>
        <pc:picChg chg="add mod">
          <ac:chgData name="Umamahesh, Adithya Bharadwaj" userId="S::aumamahe@purdue.edu::bae0ce40-ba58-49ae-96cc-3750cbefba2b" providerId="AD" clId="Web-{F7E346A8-2FF6-4ADE-A800-2ED4BEACB50C}" dt="2021-12-08T02:32:00.209" v="92" actId="1076"/>
          <ac:picMkLst>
            <pc:docMk/>
            <pc:sldMk cId="3734496598" sldId="2706"/>
            <ac:picMk id="46" creationId="{2F20C40A-9FC1-46BC-9DF6-E057372C018D}"/>
          </ac:picMkLst>
        </pc:picChg>
        <pc:picChg chg="add mod">
          <ac:chgData name="Umamahesh, Adithya Bharadwaj" userId="S::aumamahe@purdue.edu::bae0ce40-ba58-49ae-96cc-3750cbefba2b" providerId="AD" clId="Web-{F7E346A8-2FF6-4ADE-A800-2ED4BEACB50C}" dt="2021-12-08T02:32:34.397" v="100" actId="1076"/>
          <ac:picMkLst>
            <pc:docMk/>
            <pc:sldMk cId="3734496598" sldId="2706"/>
            <ac:picMk id="47" creationId="{8EEEAF44-E366-4A00-A750-C4591282E287}"/>
          </ac:picMkLst>
        </pc:picChg>
        <pc:picChg chg="add mod">
          <ac:chgData name="Umamahesh, Adithya Bharadwaj" userId="S::aumamahe@purdue.edu::bae0ce40-ba58-49ae-96cc-3750cbefba2b" providerId="AD" clId="Web-{F7E346A8-2FF6-4ADE-A800-2ED4BEACB50C}" dt="2021-12-08T02:32:29.553" v="99" actId="1076"/>
          <ac:picMkLst>
            <pc:docMk/>
            <pc:sldMk cId="3734496598" sldId="2706"/>
            <ac:picMk id="48" creationId="{A5765776-4073-4163-9E8B-07EF3DDDA807}"/>
          </ac:picMkLst>
        </pc:picChg>
        <pc:picChg chg="add mod">
          <ac:chgData name="Umamahesh, Adithya Bharadwaj" userId="S::aumamahe@purdue.edu::bae0ce40-ba58-49ae-96cc-3750cbefba2b" providerId="AD" clId="Web-{F7E346A8-2FF6-4ADE-A800-2ED4BEACB50C}" dt="2021-12-08T02:32:24.334" v="98" actId="1076"/>
          <ac:picMkLst>
            <pc:docMk/>
            <pc:sldMk cId="3734496598" sldId="2706"/>
            <ac:picMk id="49" creationId="{79E73F6F-4BB9-4949-B60F-7C52F38ECDA1}"/>
          </ac:picMkLst>
        </pc:picChg>
        <pc:picChg chg="mod">
          <ac:chgData name="Umamahesh, Adithya Bharadwaj" userId="S::aumamahe@purdue.edu::bae0ce40-ba58-49ae-96cc-3750cbefba2b" providerId="AD" clId="Web-{F7E346A8-2FF6-4ADE-A800-2ED4BEACB50C}" dt="2021-12-08T02:30:20.803" v="72" actId="1076"/>
          <ac:picMkLst>
            <pc:docMk/>
            <pc:sldMk cId="3734496598" sldId="2706"/>
            <ac:picMk id="75" creationId="{508033A2-4C21-44BE-9A1F-ADCF6B8D482B}"/>
          </ac:picMkLst>
        </pc:picChg>
        <pc:picChg chg="mod">
          <ac:chgData name="Umamahesh, Adithya Bharadwaj" userId="S::aumamahe@purdue.edu::bae0ce40-ba58-49ae-96cc-3750cbefba2b" providerId="AD" clId="Web-{F7E346A8-2FF6-4ADE-A800-2ED4BEACB50C}" dt="2021-12-08T02:30:20.834" v="73" actId="1076"/>
          <ac:picMkLst>
            <pc:docMk/>
            <pc:sldMk cId="3734496598" sldId="2706"/>
            <ac:picMk id="77" creationId="{DD97B3EC-C03E-41E8-B586-E8ADAA1E4FDA}"/>
          </ac:picMkLst>
        </pc:picChg>
        <pc:picChg chg="mod">
          <ac:chgData name="Umamahesh, Adithya Bharadwaj" userId="S::aumamahe@purdue.edu::bae0ce40-ba58-49ae-96cc-3750cbefba2b" providerId="AD" clId="Web-{F7E346A8-2FF6-4ADE-A800-2ED4BEACB50C}" dt="2021-12-08T02:30:20.850" v="74" actId="1076"/>
          <ac:picMkLst>
            <pc:docMk/>
            <pc:sldMk cId="3734496598" sldId="2706"/>
            <ac:picMk id="79" creationId="{E1244C9E-39DD-453F-BC1E-D55E2E36233B}"/>
          </ac:picMkLst>
        </pc:picChg>
        <pc:picChg chg="mod">
          <ac:chgData name="Umamahesh, Adithya Bharadwaj" userId="S::aumamahe@purdue.edu::bae0ce40-ba58-49ae-96cc-3750cbefba2b" providerId="AD" clId="Web-{F7E346A8-2FF6-4ADE-A800-2ED4BEACB50C}" dt="2021-12-08T02:30:20.866" v="75" actId="1076"/>
          <ac:picMkLst>
            <pc:docMk/>
            <pc:sldMk cId="3734496598" sldId="2706"/>
            <ac:picMk id="81" creationId="{29A21259-09B0-4F6A-81EE-74A077D47858}"/>
          </ac:picMkLst>
        </pc:picChg>
        <pc:picChg chg="mod">
          <ac:chgData name="Umamahesh, Adithya Bharadwaj" userId="S::aumamahe@purdue.edu::bae0ce40-ba58-49ae-96cc-3750cbefba2b" providerId="AD" clId="Web-{F7E346A8-2FF6-4ADE-A800-2ED4BEACB50C}" dt="2021-12-08T02:30:20.897" v="76" actId="1076"/>
          <ac:picMkLst>
            <pc:docMk/>
            <pc:sldMk cId="3734496598" sldId="2706"/>
            <ac:picMk id="113" creationId="{690A064D-FE67-4A35-B273-D418DB665BED}"/>
          </ac:picMkLst>
        </pc:picChg>
        <pc:cxnChg chg="mod">
          <ac:chgData name="Umamahesh, Adithya Bharadwaj" userId="S::aumamahe@purdue.edu::bae0ce40-ba58-49ae-96cc-3750cbefba2b" providerId="AD" clId="Web-{F7E346A8-2FF6-4ADE-A800-2ED4BEACB50C}" dt="2021-12-08T02:33:55.506" v="106" actId="1076"/>
          <ac:cxnSpMkLst>
            <pc:docMk/>
            <pc:sldMk cId="3734496598" sldId="2706"/>
            <ac:cxnSpMk id="17" creationId="{BFFC67D7-2D13-445E-A834-5169E897C4FC}"/>
          </ac:cxnSpMkLst>
        </pc:cxnChg>
        <pc:cxnChg chg="mod">
          <ac:chgData name="Umamahesh, Adithya Bharadwaj" userId="S::aumamahe@purdue.edu::bae0ce40-ba58-49ae-96cc-3750cbefba2b" providerId="AD" clId="Web-{F7E346A8-2FF6-4ADE-A800-2ED4BEACB50C}" dt="2021-12-08T02:29:40.944" v="42" actId="1076"/>
          <ac:cxnSpMkLst>
            <pc:docMk/>
            <pc:sldMk cId="3734496598" sldId="2706"/>
            <ac:cxnSpMk id="114" creationId="{065B84E0-31F4-4CE0-9BFA-B5B019CF4243}"/>
          </ac:cxnSpMkLst>
        </pc:cxnChg>
        <pc:cxnChg chg="mod">
          <ac:chgData name="Umamahesh, Adithya Bharadwaj" userId="S::aumamahe@purdue.edu::bae0ce40-ba58-49ae-96cc-3750cbefba2b" providerId="AD" clId="Web-{F7E346A8-2FF6-4ADE-A800-2ED4BEACB50C}" dt="2021-12-08T02:30:01.288" v="59" actId="1076"/>
          <ac:cxnSpMkLst>
            <pc:docMk/>
            <pc:sldMk cId="3734496598" sldId="2706"/>
            <ac:cxnSpMk id="115" creationId="{E4F798A3-091E-46AA-A736-70E669702BA3}"/>
          </ac:cxnSpMkLst>
        </pc:cxnChg>
      </pc:sldChg>
    </pc:docChg>
  </pc:docChgLst>
  <pc:docChgLst>
    <pc:chgData name="Umamahesh, Adithya Bharadwaj" userId="S::aumamahe@purdue.edu::bae0ce40-ba58-49ae-96cc-3750cbefba2b" providerId="AD" clId="Web-{481A3DCA-8784-4555-8F2D-64740DB33D32}"/>
    <pc:docChg chg="addSld delSld modSld sldOrd">
      <pc:chgData name="Umamahesh, Adithya Bharadwaj" userId="S::aumamahe@purdue.edu::bae0ce40-ba58-49ae-96cc-3750cbefba2b" providerId="AD" clId="Web-{481A3DCA-8784-4555-8F2D-64740DB33D32}" dt="2021-12-08T04:18:29.223" v="253"/>
      <pc:docMkLst>
        <pc:docMk/>
      </pc:docMkLst>
      <pc:sldChg chg="addSp delSp modSp">
        <pc:chgData name="Umamahesh, Adithya Bharadwaj" userId="S::aumamahe@purdue.edu::bae0ce40-ba58-49ae-96cc-3750cbefba2b" providerId="AD" clId="Web-{481A3DCA-8784-4555-8F2D-64740DB33D32}" dt="2021-12-08T04:18:17.848" v="250" actId="1076"/>
        <pc:sldMkLst>
          <pc:docMk/>
          <pc:sldMk cId="1355535151" sldId="432"/>
        </pc:sldMkLst>
        <pc:spChg chg="add del mod">
          <ac:chgData name="Umamahesh, Adithya Bharadwaj" userId="S::aumamahe@purdue.edu::bae0ce40-ba58-49ae-96cc-3750cbefba2b" providerId="AD" clId="Web-{481A3DCA-8784-4555-8F2D-64740DB33D32}" dt="2021-12-08T03:39:42.254" v="78"/>
          <ac:spMkLst>
            <pc:docMk/>
            <pc:sldMk cId="1355535151" sldId="432"/>
            <ac:spMk id="4" creationId="{AAA35EB1-021A-4360-A22F-D47AFD1D8361}"/>
          </ac:spMkLst>
        </pc:spChg>
        <pc:spChg chg="add del mod">
          <ac:chgData name="Umamahesh, Adithya Bharadwaj" userId="S::aumamahe@purdue.edu::bae0ce40-ba58-49ae-96cc-3750cbefba2b" providerId="AD" clId="Web-{481A3DCA-8784-4555-8F2D-64740DB33D32}" dt="2021-12-08T04:17:13.786" v="231"/>
          <ac:spMkLst>
            <pc:docMk/>
            <pc:sldMk cId="1355535151" sldId="432"/>
            <ac:spMk id="12" creationId="{9347BB51-48CD-4F8E-A62A-6A6678C7334C}"/>
          </ac:spMkLst>
        </pc:spChg>
        <pc:spChg chg="mod">
          <ac:chgData name="Umamahesh, Adithya Bharadwaj" userId="S::aumamahe@purdue.edu::bae0ce40-ba58-49ae-96cc-3750cbefba2b" providerId="AD" clId="Web-{481A3DCA-8784-4555-8F2D-64740DB33D32}" dt="2021-12-08T03:39:53.192" v="80" actId="1076"/>
          <ac:spMkLst>
            <pc:docMk/>
            <pc:sldMk cId="1355535151" sldId="432"/>
            <ac:spMk id="13" creationId="{86AA3EF4-479A-1745-A8AF-B5ACEFB21B34}"/>
          </ac:spMkLst>
        </pc:spChg>
        <pc:spChg chg="mod">
          <ac:chgData name="Umamahesh, Adithya Bharadwaj" userId="S::aumamahe@purdue.edu::bae0ce40-ba58-49ae-96cc-3750cbefba2b" providerId="AD" clId="Web-{481A3DCA-8784-4555-8F2D-64740DB33D32}" dt="2021-12-08T03:40:45.098" v="92" actId="1076"/>
          <ac:spMkLst>
            <pc:docMk/>
            <pc:sldMk cId="1355535151" sldId="432"/>
            <ac:spMk id="16" creationId="{A40F3236-39C8-AC4D-B099-1F2E29F11DF2}"/>
          </ac:spMkLst>
        </pc:spChg>
        <pc:spChg chg="mod">
          <ac:chgData name="Umamahesh, Adithya Bharadwaj" userId="S::aumamahe@purdue.edu::bae0ce40-ba58-49ae-96cc-3750cbefba2b" providerId="AD" clId="Web-{481A3DCA-8784-4555-8F2D-64740DB33D32}" dt="2021-12-08T03:40:56.644" v="95" actId="1076"/>
          <ac:spMkLst>
            <pc:docMk/>
            <pc:sldMk cId="1355535151" sldId="432"/>
            <ac:spMk id="19" creationId="{42A1EEDA-0CE5-2848-AF4E-AA15A39B1113}"/>
          </ac:spMkLst>
        </pc:spChg>
        <pc:spChg chg="mod">
          <ac:chgData name="Umamahesh, Adithya Bharadwaj" userId="S::aumamahe@purdue.edu::bae0ce40-ba58-49ae-96cc-3750cbefba2b" providerId="AD" clId="Web-{481A3DCA-8784-4555-8F2D-64740DB33D32}" dt="2021-12-08T02:48:03.600" v="1" actId="20577"/>
          <ac:spMkLst>
            <pc:docMk/>
            <pc:sldMk cId="1355535151" sldId="432"/>
            <ac:spMk id="28" creationId="{2B495259-37AB-4B6D-BD31-B118894F75D0}"/>
          </ac:spMkLst>
        </pc:spChg>
        <pc:spChg chg="add del mod">
          <ac:chgData name="Umamahesh, Adithya Bharadwaj" userId="S::aumamahe@purdue.edu::bae0ce40-ba58-49ae-96cc-3750cbefba2b" providerId="AD" clId="Web-{481A3DCA-8784-4555-8F2D-64740DB33D32}" dt="2021-12-08T04:17:31.723" v="238"/>
          <ac:spMkLst>
            <pc:docMk/>
            <pc:sldMk cId="1355535151" sldId="432"/>
            <ac:spMk id="39" creationId="{39DAC775-BACB-4666-A288-ACDC903941BF}"/>
          </ac:spMkLst>
        </pc:spChg>
        <pc:spChg chg="add mod">
          <ac:chgData name="Umamahesh, Adithya Bharadwaj" userId="S::aumamahe@purdue.edu::bae0ce40-ba58-49ae-96cc-3750cbefba2b" providerId="AD" clId="Web-{481A3DCA-8784-4555-8F2D-64740DB33D32}" dt="2021-12-08T04:17:20.457" v="233" actId="1076"/>
          <ac:spMkLst>
            <pc:docMk/>
            <pc:sldMk cId="1355535151" sldId="432"/>
            <ac:spMk id="40" creationId="{D27771CB-D0EA-4ABC-A385-B5056CB52B70}"/>
          </ac:spMkLst>
        </pc:spChg>
        <pc:spChg chg="add mod">
          <ac:chgData name="Umamahesh, Adithya Bharadwaj" userId="S::aumamahe@purdue.edu::bae0ce40-ba58-49ae-96cc-3750cbefba2b" providerId="AD" clId="Web-{481A3DCA-8784-4555-8F2D-64740DB33D32}" dt="2021-12-08T04:18:17.848" v="250" actId="1076"/>
          <ac:spMkLst>
            <pc:docMk/>
            <pc:sldMk cId="1355535151" sldId="432"/>
            <ac:spMk id="42" creationId="{6BE0878D-F201-4B11-9EDE-B285DDF33D90}"/>
          </ac:spMkLst>
        </pc:spChg>
        <pc:picChg chg="add del mod">
          <ac:chgData name="Umamahesh, Adithya Bharadwaj" userId="S::aumamahe@purdue.edu::bae0ce40-ba58-49ae-96cc-3750cbefba2b" providerId="AD" clId="Web-{481A3DCA-8784-4555-8F2D-64740DB33D32}" dt="2021-12-08T03:36:54.443" v="40"/>
          <ac:picMkLst>
            <pc:docMk/>
            <pc:sldMk cId="1355535151" sldId="432"/>
            <ac:picMk id="2" creationId="{B78F5115-0007-4DCB-AA6C-31ECC36F6E26}"/>
          </ac:picMkLst>
        </pc:picChg>
        <pc:picChg chg="mod">
          <ac:chgData name="Umamahesh, Adithya Bharadwaj" userId="S::aumamahe@purdue.edu::bae0ce40-ba58-49ae-96cc-3750cbefba2b" providerId="AD" clId="Web-{481A3DCA-8784-4555-8F2D-64740DB33D32}" dt="2021-12-08T03:41:18.457" v="97" actId="14100"/>
          <ac:picMkLst>
            <pc:docMk/>
            <pc:sldMk cId="1355535151" sldId="432"/>
            <ac:picMk id="3" creationId="{95370D08-2276-4884-8BA1-D3F60C4A6CFC}"/>
          </ac:picMkLst>
        </pc:picChg>
        <pc:picChg chg="add del mod ord">
          <ac:chgData name="Umamahesh, Adithya Bharadwaj" userId="S::aumamahe@purdue.edu::bae0ce40-ba58-49ae-96cc-3750cbefba2b" providerId="AD" clId="Web-{481A3DCA-8784-4555-8F2D-64740DB33D32}" dt="2021-12-08T03:39:39.864" v="77"/>
          <ac:picMkLst>
            <pc:docMk/>
            <pc:sldMk cId="1355535151" sldId="432"/>
            <ac:picMk id="14" creationId="{64C721C2-786E-4638-819F-FDEDC9A555C1}"/>
          </ac:picMkLst>
        </pc:picChg>
        <pc:picChg chg="mod">
          <ac:chgData name="Umamahesh, Adithya Bharadwaj" userId="S::aumamahe@purdue.edu::bae0ce40-ba58-49ae-96cc-3750cbefba2b" providerId="AD" clId="Web-{481A3DCA-8784-4555-8F2D-64740DB33D32}" dt="2021-12-08T03:40:48.816" v="93" actId="1076"/>
          <ac:picMkLst>
            <pc:docMk/>
            <pc:sldMk cId="1355535151" sldId="432"/>
            <ac:picMk id="34" creationId="{6114D2F1-1642-4E35-AAAD-30422C415F64}"/>
          </ac:picMkLst>
        </pc:picChg>
        <pc:picChg chg="add del mod">
          <ac:chgData name="Umamahesh, Adithya Bharadwaj" userId="S::aumamahe@purdue.edu::bae0ce40-ba58-49ae-96cc-3750cbefba2b" providerId="AD" clId="Web-{481A3DCA-8784-4555-8F2D-64740DB33D32}" dt="2021-12-08T03:37:06.474" v="46"/>
          <ac:picMkLst>
            <pc:docMk/>
            <pc:sldMk cId="1355535151" sldId="432"/>
            <ac:picMk id="35" creationId="{E6393BB2-ADDB-4935-9093-832A52D31BA1}"/>
          </ac:picMkLst>
        </pc:picChg>
        <pc:picChg chg="add del mod ord">
          <ac:chgData name="Umamahesh, Adithya Bharadwaj" userId="S::aumamahe@purdue.edu::bae0ce40-ba58-49ae-96cc-3750cbefba2b" providerId="AD" clId="Web-{481A3DCA-8784-4555-8F2D-64740DB33D32}" dt="2021-12-08T04:17:31.723" v="239"/>
          <ac:picMkLst>
            <pc:docMk/>
            <pc:sldMk cId="1355535151" sldId="432"/>
            <ac:picMk id="36" creationId="{84547D06-5CD3-4DE4-A508-52574B67D9F5}"/>
          </ac:picMkLst>
        </pc:picChg>
        <pc:picChg chg="add mod">
          <ac:chgData name="Umamahesh, Adithya Bharadwaj" userId="S::aumamahe@purdue.edu::bae0ce40-ba58-49ae-96cc-3750cbefba2b" providerId="AD" clId="Web-{481A3DCA-8784-4555-8F2D-64740DB33D32}" dt="2021-12-08T04:17:20.442" v="232" actId="1076"/>
          <ac:picMkLst>
            <pc:docMk/>
            <pc:sldMk cId="1355535151" sldId="432"/>
            <ac:picMk id="37" creationId="{CC18CBEF-8512-46CE-83D4-EEF3012F787C}"/>
          </ac:picMkLst>
        </pc:picChg>
        <pc:picChg chg="mod">
          <ac:chgData name="Umamahesh, Adithya Bharadwaj" userId="S::aumamahe@purdue.edu::bae0ce40-ba58-49ae-96cc-3750cbefba2b" providerId="AD" clId="Web-{481A3DCA-8784-4555-8F2D-64740DB33D32}" dt="2021-12-08T03:39:47.942" v="79" actId="1076"/>
          <ac:picMkLst>
            <pc:docMk/>
            <pc:sldMk cId="1355535151" sldId="432"/>
            <ac:picMk id="38" creationId="{948D888B-0540-4DDF-99BE-56151B0CEBB5}"/>
          </ac:picMkLst>
        </pc:picChg>
        <pc:picChg chg="add mod">
          <ac:chgData name="Umamahesh, Adithya Bharadwaj" userId="S::aumamahe@purdue.edu::bae0ce40-ba58-49ae-96cc-3750cbefba2b" providerId="AD" clId="Web-{481A3DCA-8784-4555-8F2D-64740DB33D32}" dt="2021-12-08T04:18:17.848" v="249" actId="1076"/>
          <ac:picMkLst>
            <pc:docMk/>
            <pc:sldMk cId="1355535151" sldId="432"/>
            <ac:picMk id="41" creationId="{D3191232-42DE-4A5E-91A9-B9C7F9235AC2}"/>
          </ac:picMkLst>
        </pc:picChg>
      </pc:sldChg>
      <pc:sldChg chg="modSp">
        <pc:chgData name="Umamahesh, Adithya Bharadwaj" userId="S::aumamahe@purdue.edu::bae0ce40-ba58-49ae-96cc-3750cbefba2b" providerId="AD" clId="Web-{481A3DCA-8784-4555-8F2D-64740DB33D32}" dt="2021-12-08T04:13:23.678" v="206" actId="1076"/>
        <pc:sldMkLst>
          <pc:docMk/>
          <pc:sldMk cId="1557040444" sldId="2700"/>
        </pc:sldMkLst>
        <pc:picChg chg="mod">
          <ac:chgData name="Umamahesh, Adithya Bharadwaj" userId="S::aumamahe@purdue.edu::bae0ce40-ba58-49ae-96cc-3750cbefba2b" providerId="AD" clId="Web-{481A3DCA-8784-4555-8F2D-64740DB33D32}" dt="2021-12-08T04:13:23.678" v="206" actId="1076"/>
          <ac:picMkLst>
            <pc:docMk/>
            <pc:sldMk cId="1557040444" sldId="2700"/>
            <ac:picMk id="7" creationId="{84C57A75-1B39-48B0-8065-09D4517434CE}"/>
          </ac:picMkLst>
        </pc:picChg>
        <pc:picChg chg="mod">
          <ac:chgData name="Umamahesh, Adithya Bharadwaj" userId="S::aumamahe@purdue.edu::bae0ce40-ba58-49ae-96cc-3750cbefba2b" providerId="AD" clId="Web-{481A3DCA-8784-4555-8F2D-64740DB33D32}" dt="2021-12-08T02:48:15.881" v="2" actId="1076"/>
          <ac:picMkLst>
            <pc:docMk/>
            <pc:sldMk cId="1557040444" sldId="2700"/>
            <ac:picMk id="1034" creationId="{18E3820A-AC64-426C-990D-E32F5340206E}"/>
          </ac:picMkLst>
        </pc:picChg>
      </pc:sldChg>
      <pc:sldChg chg="modSp">
        <pc:chgData name="Umamahesh, Adithya Bharadwaj" userId="S::aumamahe@purdue.edu::bae0ce40-ba58-49ae-96cc-3750cbefba2b" providerId="AD" clId="Web-{481A3DCA-8784-4555-8F2D-64740DB33D32}" dt="2021-12-08T02:56:39.085" v="5" actId="1076"/>
        <pc:sldMkLst>
          <pc:docMk/>
          <pc:sldMk cId="2354494062" sldId="2701"/>
        </pc:sldMkLst>
        <pc:spChg chg="mod">
          <ac:chgData name="Umamahesh, Adithya Bharadwaj" userId="S::aumamahe@purdue.edu::bae0ce40-ba58-49ae-96cc-3750cbefba2b" providerId="AD" clId="Web-{481A3DCA-8784-4555-8F2D-64740DB33D32}" dt="2021-12-08T02:56:39.085" v="5" actId="1076"/>
          <ac:spMkLst>
            <pc:docMk/>
            <pc:sldMk cId="2354494062" sldId="2701"/>
            <ac:spMk id="32" creationId="{C73CCD0F-E226-48CE-ABED-4438855A52BD}"/>
          </ac:spMkLst>
        </pc:spChg>
      </pc:sldChg>
      <pc:sldChg chg="addSp delSp modSp add del replId">
        <pc:chgData name="Umamahesh, Adithya Bharadwaj" userId="S::aumamahe@purdue.edu::bae0ce40-ba58-49ae-96cc-3750cbefba2b" providerId="AD" clId="Web-{481A3DCA-8784-4555-8F2D-64740DB33D32}" dt="2021-12-08T03:45:10.643" v="118"/>
        <pc:sldMkLst>
          <pc:docMk/>
          <pc:sldMk cId="465215349" sldId="2713"/>
        </pc:sldMkLst>
        <pc:spChg chg="add del mod">
          <ac:chgData name="Umamahesh, Adithya Bharadwaj" userId="S::aumamahe@purdue.edu::bae0ce40-ba58-49ae-96cc-3750cbefba2b" providerId="AD" clId="Web-{481A3DCA-8784-4555-8F2D-64740DB33D32}" dt="2021-12-08T03:45:04.221" v="115"/>
          <ac:spMkLst>
            <pc:docMk/>
            <pc:sldMk cId="465215349" sldId="2713"/>
            <ac:spMk id="4" creationId="{27C96735-F07A-4254-8D2E-F856EF000CC1}"/>
          </ac:spMkLst>
        </pc:spChg>
        <pc:spChg chg="add del mod">
          <ac:chgData name="Umamahesh, Adithya Bharadwaj" userId="S::aumamahe@purdue.edu::bae0ce40-ba58-49ae-96cc-3750cbefba2b" providerId="AD" clId="Web-{481A3DCA-8784-4555-8F2D-64740DB33D32}" dt="2021-12-08T03:45:04.221" v="114"/>
          <ac:spMkLst>
            <pc:docMk/>
            <pc:sldMk cId="465215349" sldId="2713"/>
            <ac:spMk id="8" creationId="{F7E9A986-1D41-4AB2-A570-E57DCE4FFCFC}"/>
          </ac:spMkLst>
        </pc:spChg>
        <pc:spChg chg="add del mod">
          <ac:chgData name="Umamahesh, Adithya Bharadwaj" userId="S::aumamahe@purdue.edu::bae0ce40-ba58-49ae-96cc-3750cbefba2b" providerId="AD" clId="Web-{481A3DCA-8784-4555-8F2D-64740DB33D32}" dt="2021-12-08T03:45:04.221" v="113"/>
          <ac:spMkLst>
            <pc:docMk/>
            <pc:sldMk cId="465215349" sldId="2713"/>
            <ac:spMk id="10" creationId="{D8AB665C-1BB5-4299-AD28-F49D0555005A}"/>
          </ac:spMkLst>
        </pc:spChg>
        <pc:spChg chg="add del mod">
          <ac:chgData name="Umamahesh, Adithya Bharadwaj" userId="S::aumamahe@purdue.edu::bae0ce40-ba58-49ae-96cc-3750cbefba2b" providerId="AD" clId="Web-{481A3DCA-8784-4555-8F2D-64740DB33D32}" dt="2021-12-08T03:45:04.221" v="112"/>
          <ac:spMkLst>
            <pc:docMk/>
            <pc:sldMk cId="465215349" sldId="2713"/>
            <ac:spMk id="12" creationId="{E39BD873-0DC2-42FD-B3BD-0F9C73EBECF8}"/>
          </ac:spMkLst>
        </pc:spChg>
        <pc:spChg chg="add del mod">
          <ac:chgData name="Umamahesh, Adithya Bharadwaj" userId="S::aumamahe@purdue.edu::bae0ce40-ba58-49ae-96cc-3750cbefba2b" providerId="AD" clId="Web-{481A3DCA-8784-4555-8F2D-64740DB33D32}" dt="2021-12-08T03:45:04.221" v="111"/>
          <ac:spMkLst>
            <pc:docMk/>
            <pc:sldMk cId="465215349" sldId="2713"/>
            <ac:spMk id="14" creationId="{4FA5BB3F-4AE2-4CD5-B38F-E30615A2DAB8}"/>
          </ac:spMkLst>
        </pc:spChg>
        <pc:spChg chg="add del">
          <ac:chgData name="Umamahesh, Adithya Bharadwaj" userId="S::aumamahe@purdue.edu::bae0ce40-ba58-49ae-96cc-3750cbefba2b" providerId="AD" clId="Web-{481A3DCA-8784-4555-8F2D-64740DB33D32}" dt="2021-12-08T03:45:08.814" v="117"/>
          <ac:spMkLst>
            <pc:docMk/>
            <pc:sldMk cId="465215349" sldId="2713"/>
            <ac:spMk id="15" creationId="{03BFB27E-0CD6-4AC8-B10E-6E88A8A5588C}"/>
          </ac:spMkLst>
        </pc:spChg>
        <pc:spChg chg="del">
          <ac:chgData name="Umamahesh, Adithya Bharadwaj" userId="S::aumamahe@purdue.edu::bae0ce40-ba58-49ae-96cc-3750cbefba2b" providerId="AD" clId="Web-{481A3DCA-8784-4555-8F2D-64740DB33D32}" dt="2021-12-08T03:44:59.783" v="110"/>
          <ac:spMkLst>
            <pc:docMk/>
            <pc:sldMk cId="465215349" sldId="2713"/>
            <ac:spMk id="22" creationId="{A80A98B8-6DAB-784F-AE8C-FDC98086080A}"/>
          </ac:spMkLst>
        </pc:spChg>
        <pc:spChg chg="del">
          <ac:chgData name="Umamahesh, Adithya Bharadwaj" userId="S::aumamahe@purdue.edu::bae0ce40-ba58-49ae-96cc-3750cbefba2b" providerId="AD" clId="Web-{481A3DCA-8784-4555-8F2D-64740DB33D32}" dt="2021-12-08T03:44:59.705" v="109"/>
          <ac:spMkLst>
            <pc:docMk/>
            <pc:sldMk cId="465215349" sldId="2713"/>
            <ac:spMk id="23" creationId="{493682FE-6899-FF43-95B7-657C6B6427FB}"/>
          </ac:spMkLst>
        </pc:spChg>
        <pc:spChg chg="del">
          <ac:chgData name="Umamahesh, Adithya Bharadwaj" userId="S::aumamahe@purdue.edu::bae0ce40-ba58-49ae-96cc-3750cbefba2b" providerId="AD" clId="Web-{481A3DCA-8784-4555-8F2D-64740DB33D32}" dt="2021-12-08T03:44:59.611" v="108"/>
          <ac:spMkLst>
            <pc:docMk/>
            <pc:sldMk cId="465215349" sldId="2713"/>
            <ac:spMk id="24" creationId="{0DACE07F-6244-2B4D-8A9B-771CC068D471}"/>
          </ac:spMkLst>
        </pc:spChg>
        <pc:spChg chg="del">
          <ac:chgData name="Umamahesh, Adithya Bharadwaj" userId="S::aumamahe@purdue.edu::bae0ce40-ba58-49ae-96cc-3750cbefba2b" providerId="AD" clId="Web-{481A3DCA-8784-4555-8F2D-64740DB33D32}" dt="2021-12-08T03:44:59.502" v="107"/>
          <ac:spMkLst>
            <pc:docMk/>
            <pc:sldMk cId="465215349" sldId="2713"/>
            <ac:spMk id="25" creationId="{3920DCCA-3151-3147-B04A-DEF13B632EF3}"/>
          </ac:spMkLst>
        </pc:spChg>
        <pc:spChg chg="del">
          <ac:chgData name="Umamahesh, Adithya Bharadwaj" userId="S::aumamahe@purdue.edu::bae0ce40-ba58-49ae-96cc-3750cbefba2b" providerId="AD" clId="Web-{481A3DCA-8784-4555-8F2D-64740DB33D32}" dt="2021-12-08T03:44:59.424" v="106"/>
          <ac:spMkLst>
            <pc:docMk/>
            <pc:sldMk cId="465215349" sldId="2713"/>
            <ac:spMk id="26" creationId="{405B99D8-A9CA-CB42-8089-5A6C9C848782}"/>
          </ac:spMkLst>
        </pc:spChg>
        <pc:picChg chg="del">
          <ac:chgData name="Umamahesh, Adithya Bharadwaj" userId="S::aumamahe@purdue.edu::bae0ce40-ba58-49ae-96cc-3750cbefba2b" providerId="AD" clId="Web-{481A3DCA-8784-4555-8F2D-64740DB33D32}" dt="2021-12-08T03:44:59.346" v="103"/>
          <ac:picMkLst>
            <pc:docMk/>
            <pc:sldMk cId="465215349" sldId="2713"/>
            <ac:picMk id="3" creationId="{7092CDF3-732A-4C4D-9DEC-95916257CFB7}"/>
          </ac:picMkLst>
        </pc:picChg>
        <pc:picChg chg="del">
          <ac:chgData name="Umamahesh, Adithya Bharadwaj" userId="S::aumamahe@purdue.edu::bae0ce40-ba58-49ae-96cc-3750cbefba2b" providerId="AD" clId="Web-{481A3DCA-8784-4555-8F2D-64740DB33D32}" dt="2021-12-08T03:44:59.330" v="102"/>
          <ac:picMkLst>
            <pc:docMk/>
            <pc:sldMk cId="465215349" sldId="2713"/>
            <ac:picMk id="5" creationId="{3D310F41-2FE4-43CC-977C-726662C734FC}"/>
          </ac:picMkLst>
        </pc:picChg>
        <pc:picChg chg="del">
          <ac:chgData name="Umamahesh, Adithya Bharadwaj" userId="S::aumamahe@purdue.edu::bae0ce40-ba58-49ae-96cc-3750cbefba2b" providerId="AD" clId="Web-{481A3DCA-8784-4555-8F2D-64740DB33D32}" dt="2021-12-08T03:44:59.330" v="101"/>
          <ac:picMkLst>
            <pc:docMk/>
            <pc:sldMk cId="465215349" sldId="2713"/>
            <ac:picMk id="7" creationId="{84C57A75-1B39-48B0-8065-09D4517434CE}"/>
          </ac:picMkLst>
        </pc:picChg>
        <pc:picChg chg="del">
          <ac:chgData name="Umamahesh, Adithya Bharadwaj" userId="S::aumamahe@purdue.edu::bae0ce40-ba58-49ae-96cc-3750cbefba2b" providerId="AD" clId="Web-{481A3DCA-8784-4555-8F2D-64740DB33D32}" dt="2021-12-08T03:44:59.346" v="105"/>
          <ac:picMkLst>
            <pc:docMk/>
            <pc:sldMk cId="465215349" sldId="2713"/>
            <ac:picMk id="1032" creationId="{F823609C-20BA-4039-A30F-EF3734E8699C}"/>
          </ac:picMkLst>
        </pc:picChg>
        <pc:picChg chg="del">
          <ac:chgData name="Umamahesh, Adithya Bharadwaj" userId="S::aumamahe@purdue.edu::bae0ce40-ba58-49ae-96cc-3750cbefba2b" providerId="AD" clId="Web-{481A3DCA-8784-4555-8F2D-64740DB33D32}" dt="2021-12-08T03:44:59.346" v="104"/>
          <ac:picMkLst>
            <pc:docMk/>
            <pc:sldMk cId="465215349" sldId="2713"/>
            <ac:picMk id="1034" creationId="{18E3820A-AC64-426C-990D-E32F5340206E}"/>
          </ac:picMkLst>
        </pc:picChg>
      </pc:sldChg>
      <pc:sldChg chg="addSp delSp modSp add ord replId">
        <pc:chgData name="Umamahesh, Adithya Bharadwaj" userId="S::aumamahe@purdue.edu::bae0ce40-ba58-49ae-96cc-3750cbefba2b" providerId="AD" clId="Web-{481A3DCA-8784-4555-8F2D-64740DB33D32}" dt="2021-12-08T04:18:29.223" v="253"/>
        <pc:sldMkLst>
          <pc:docMk/>
          <pc:sldMk cId="1670094585" sldId="2713"/>
        </pc:sldMkLst>
        <pc:spChg chg="add mod">
          <ac:chgData name="Umamahesh, Adithya Bharadwaj" userId="S::aumamahe@purdue.edu::bae0ce40-ba58-49ae-96cc-3750cbefba2b" providerId="AD" clId="Web-{481A3DCA-8784-4555-8F2D-64740DB33D32}" dt="2021-12-08T04:01:37.605" v="191" actId="14100"/>
          <ac:spMkLst>
            <pc:docMk/>
            <pc:sldMk cId="1670094585" sldId="2713"/>
            <ac:spMk id="4" creationId="{CE0F4C06-82C6-4EBB-A8D1-3E95EC03335B}"/>
          </ac:spMkLst>
        </pc:spChg>
        <pc:spChg chg="add">
          <ac:chgData name="Umamahesh, Adithya Bharadwaj" userId="S::aumamahe@purdue.edu::bae0ce40-ba58-49ae-96cc-3750cbefba2b" providerId="AD" clId="Web-{481A3DCA-8784-4555-8F2D-64740DB33D32}" dt="2021-12-08T04:18:29.223" v="253"/>
          <ac:spMkLst>
            <pc:docMk/>
            <pc:sldMk cId="1670094585" sldId="2713"/>
            <ac:spMk id="8" creationId="{DFDC6F8C-5FA3-4A0C-B3E9-5B138B35F6DF}"/>
          </ac:spMkLst>
        </pc:spChg>
        <pc:spChg chg="mod">
          <ac:chgData name="Umamahesh, Adithya Bharadwaj" userId="S::aumamahe@purdue.edu::bae0ce40-ba58-49ae-96cc-3750cbefba2b" providerId="AD" clId="Web-{481A3DCA-8784-4555-8F2D-64740DB33D32}" dt="2021-12-08T04:01:06.027" v="185" actId="20577"/>
          <ac:spMkLst>
            <pc:docMk/>
            <pc:sldMk cId="1670094585" sldId="2713"/>
            <ac:spMk id="23" creationId="{050055D8-B216-43D3-B844-16C232E67075}"/>
          </ac:spMkLst>
        </pc:spChg>
        <pc:spChg chg="add mod">
          <ac:chgData name="Umamahesh, Adithya Bharadwaj" userId="S::aumamahe@purdue.edu::bae0ce40-ba58-49ae-96cc-3750cbefba2b" providerId="AD" clId="Web-{481A3DCA-8784-4555-8F2D-64740DB33D32}" dt="2021-12-08T04:01:49.354" v="193" actId="14100"/>
          <ac:spMkLst>
            <pc:docMk/>
            <pc:sldMk cId="1670094585" sldId="2713"/>
            <ac:spMk id="71" creationId="{E7A7C428-A29D-49A9-8B57-FE1DAA11F218}"/>
          </ac:spMkLst>
        </pc:spChg>
        <pc:grpChg chg="del">
          <ac:chgData name="Umamahesh, Adithya Bharadwaj" userId="S::aumamahe@purdue.edu::bae0ce40-ba58-49ae-96cc-3750cbefba2b" providerId="AD" clId="Web-{481A3DCA-8784-4555-8F2D-64740DB33D32}" dt="2021-12-08T03:45:25.736" v="121"/>
          <ac:grpSpMkLst>
            <pc:docMk/>
            <pc:sldMk cId="1670094585" sldId="2713"/>
            <ac:grpSpMk id="24" creationId="{E112B991-1C2A-46A2-A311-2D5E7E4E88FC}"/>
          </ac:grpSpMkLst>
        </pc:grpChg>
        <pc:picChg chg="add mod modCrop">
          <ac:chgData name="Umamahesh, Adithya Bharadwaj" userId="S::aumamahe@purdue.edu::bae0ce40-ba58-49ae-96cc-3750cbefba2b" providerId="AD" clId="Web-{481A3DCA-8784-4555-8F2D-64740DB33D32}" dt="2021-12-08T03:52:35.421" v="163"/>
          <ac:picMkLst>
            <pc:docMk/>
            <pc:sldMk cId="1670094585" sldId="2713"/>
            <ac:picMk id="2" creationId="{1968913F-1FBA-4001-84B9-388DBD9F3BA3}"/>
          </ac:picMkLst>
        </pc:picChg>
        <pc:picChg chg="add del mod">
          <ac:chgData name="Umamahesh, Adithya Bharadwaj" userId="S::aumamahe@purdue.edu::bae0ce40-ba58-49ae-96cc-3750cbefba2b" providerId="AD" clId="Web-{481A3DCA-8784-4555-8F2D-64740DB33D32}" dt="2021-12-08T03:49:33.094" v="143"/>
          <ac:picMkLst>
            <pc:docMk/>
            <pc:sldMk cId="1670094585" sldId="2713"/>
            <ac:picMk id="3" creationId="{439948FA-D905-44DA-8090-CEFA4EA46903}"/>
          </ac:picMkLst>
        </pc:picChg>
        <pc:picChg chg="add del mod">
          <ac:chgData name="Umamahesh, Adithya Bharadwaj" userId="S::aumamahe@purdue.edu::bae0ce40-ba58-49ae-96cc-3750cbefba2b" providerId="AD" clId="Web-{481A3DCA-8784-4555-8F2D-64740DB33D32}" dt="2021-12-08T04:07:10.149" v="205" actId="1076"/>
          <ac:picMkLst>
            <pc:docMk/>
            <pc:sldMk cId="1670094585" sldId="2713"/>
            <ac:picMk id="5" creationId="{744719E6-4046-465C-85B2-377AF2466BBE}"/>
          </ac:picMkLst>
        </pc:picChg>
        <pc:picChg chg="add mod modCrop">
          <ac:chgData name="Umamahesh, Adithya Bharadwaj" userId="S::aumamahe@purdue.edu::bae0ce40-ba58-49ae-96cc-3750cbefba2b" providerId="AD" clId="Web-{481A3DCA-8784-4555-8F2D-64740DB33D32}" dt="2021-12-08T04:18:27.004" v="252" actId="1076"/>
          <ac:picMkLst>
            <pc:docMk/>
            <pc:sldMk cId="1670094585" sldId="2713"/>
            <ac:picMk id="6" creationId="{591AB017-5F8A-4E2A-8AA0-5457A5667950}"/>
          </ac:picMkLst>
        </pc:picChg>
        <pc:cxnChg chg="mod">
          <ac:chgData name="Umamahesh, Adithya Bharadwaj" userId="S::aumamahe@purdue.edu::bae0ce40-ba58-49ae-96cc-3750cbefba2b" providerId="AD" clId="Web-{481A3DCA-8784-4555-8F2D-64740DB33D32}" dt="2021-12-08T03:45:25.736" v="121"/>
          <ac:cxnSpMkLst>
            <pc:docMk/>
            <pc:sldMk cId="1670094585" sldId="2713"/>
            <ac:cxnSpMk id="34" creationId="{AAB0622E-74FE-4CE6-AD10-50101DFE71D7}"/>
          </ac:cxnSpMkLst>
        </pc:cxnChg>
        <pc:cxnChg chg="mod">
          <ac:chgData name="Umamahesh, Adithya Bharadwaj" userId="S::aumamahe@purdue.edu::bae0ce40-ba58-49ae-96cc-3750cbefba2b" providerId="AD" clId="Web-{481A3DCA-8784-4555-8F2D-64740DB33D32}" dt="2021-12-08T03:45:25.736" v="121"/>
          <ac:cxnSpMkLst>
            <pc:docMk/>
            <pc:sldMk cId="1670094585" sldId="2713"/>
            <ac:cxnSpMk id="42" creationId="{9456486C-3105-447C-A323-13E872B13F17}"/>
          </ac:cxnSpMkLst>
        </pc:cxnChg>
        <pc:cxnChg chg="mod">
          <ac:chgData name="Umamahesh, Adithya Bharadwaj" userId="S::aumamahe@purdue.edu::bae0ce40-ba58-49ae-96cc-3750cbefba2b" providerId="AD" clId="Web-{481A3DCA-8784-4555-8F2D-64740DB33D32}" dt="2021-12-08T03:45:25.736" v="121"/>
          <ac:cxnSpMkLst>
            <pc:docMk/>
            <pc:sldMk cId="1670094585" sldId="2713"/>
            <ac:cxnSpMk id="50" creationId="{155360F9-9D6A-41AE-A0BB-14FC19835E07}"/>
          </ac:cxnSpMkLst>
        </pc:cxnChg>
        <pc:cxnChg chg="mod">
          <ac:chgData name="Umamahesh, Adithya Bharadwaj" userId="S::aumamahe@purdue.edu::bae0ce40-ba58-49ae-96cc-3750cbefba2b" providerId="AD" clId="Web-{481A3DCA-8784-4555-8F2D-64740DB33D32}" dt="2021-12-08T03:45:25.736" v="121"/>
          <ac:cxnSpMkLst>
            <pc:docMk/>
            <pc:sldMk cId="1670094585" sldId="2713"/>
            <ac:cxnSpMk id="58" creationId="{009A3F5B-E975-47B7-96DB-128740609551}"/>
          </ac:cxnSpMkLst>
        </pc:cxnChg>
        <pc:cxnChg chg="mod">
          <ac:chgData name="Umamahesh, Adithya Bharadwaj" userId="S::aumamahe@purdue.edu::bae0ce40-ba58-49ae-96cc-3750cbefba2b" providerId="AD" clId="Web-{481A3DCA-8784-4555-8F2D-64740DB33D32}" dt="2021-12-08T03:45:25.736" v="121"/>
          <ac:cxnSpMkLst>
            <pc:docMk/>
            <pc:sldMk cId="1670094585" sldId="2713"/>
            <ac:cxnSpMk id="66" creationId="{CDFD1B24-7057-40D2-8C10-46494EBBEEF8}"/>
          </ac:cxnSpMkLst>
        </pc:cxnChg>
      </pc:sldChg>
    </pc:docChg>
  </pc:docChgLst>
  <pc:docChgLst>
    <pc:chgData name="Soni, Vineet Suhas" userId="S::vsoni@purdue.edu::7fa9341a-cabe-4797-868c-5a4860af8213" providerId="AD" clId="Web-{50F8B118-10B0-4FB0-989B-68717EF05CE7}"/>
    <pc:docChg chg="addSld delSld modSld">
      <pc:chgData name="Soni, Vineet Suhas" userId="S::vsoni@purdue.edu::7fa9341a-cabe-4797-868c-5a4860af8213" providerId="AD" clId="Web-{50F8B118-10B0-4FB0-989B-68717EF05CE7}" dt="2021-12-08T00:52:10.869" v="163" actId="14100"/>
      <pc:docMkLst>
        <pc:docMk/>
      </pc:docMkLst>
      <pc:sldChg chg="addSp delSp modSp">
        <pc:chgData name="Soni, Vineet Suhas" userId="S::vsoni@purdue.edu::7fa9341a-cabe-4797-868c-5a4860af8213" providerId="AD" clId="Web-{50F8B118-10B0-4FB0-989B-68717EF05CE7}" dt="2021-12-08T00:19:42.354" v="159" actId="1076"/>
        <pc:sldMkLst>
          <pc:docMk/>
          <pc:sldMk cId="3734496598" sldId="2706"/>
        </pc:sldMkLst>
        <pc:spChg chg="mod">
          <ac:chgData name="Soni, Vineet Suhas" userId="S::vsoni@purdue.edu::7fa9341a-cabe-4797-868c-5a4860af8213" providerId="AD" clId="Web-{50F8B118-10B0-4FB0-989B-68717EF05CE7}" dt="2021-12-08T00:18:18.573" v="145" actId="20577"/>
          <ac:spMkLst>
            <pc:docMk/>
            <pc:sldMk cId="3734496598" sldId="2706"/>
            <ac:spMk id="20" creationId="{36531F54-ECC8-4697-A3E1-B957BC353732}"/>
          </ac:spMkLst>
        </pc:spChg>
        <pc:spChg chg="add del">
          <ac:chgData name="Soni, Vineet Suhas" userId="S::vsoni@purdue.edu::7fa9341a-cabe-4797-868c-5a4860af8213" providerId="AD" clId="Web-{50F8B118-10B0-4FB0-989B-68717EF05CE7}" dt="2021-12-08T00:07:42.280" v="30"/>
          <ac:spMkLst>
            <pc:docMk/>
            <pc:sldMk cId="3734496598" sldId="2706"/>
            <ac:spMk id="36" creationId="{E615CFF7-E736-4A59-BF57-36004057EE1C}"/>
          </ac:spMkLst>
        </pc:spChg>
        <pc:spChg chg="add mod">
          <ac:chgData name="Soni, Vineet Suhas" userId="S::vsoni@purdue.edu::7fa9341a-cabe-4797-868c-5a4860af8213" providerId="AD" clId="Web-{50F8B118-10B0-4FB0-989B-68717EF05CE7}" dt="2021-12-08T00:09:40.858" v="65" actId="14100"/>
          <ac:spMkLst>
            <pc:docMk/>
            <pc:sldMk cId="3734496598" sldId="2706"/>
            <ac:spMk id="37" creationId="{DE2FBB67-E34A-4BD8-9180-9D0DF72046D8}"/>
          </ac:spMkLst>
        </pc:spChg>
        <pc:spChg chg="add mod">
          <ac:chgData name="Soni, Vineet Suhas" userId="S::vsoni@purdue.edu::7fa9341a-cabe-4797-868c-5a4860af8213" providerId="AD" clId="Web-{50F8B118-10B0-4FB0-989B-68717EF05CE7}" dt="2021-12-08T00:19:17.964" v="158" actId="1076"/>
          <ac:spMkLst>
            <pc:docMk/>
            <pc:sldMk cId="3734496598" sldId="2706"/>
            <ac:spMk id="38" creationId="{8A537673-5469-44AC-9DE6-60E8EE136095}"/>
          </ac:spMkLst>
        </pc:spChg>
        <pc:spChg chg="add mod">
          <ac:chgData name="Soni, Vineet Suhas" userId="S::vsoni@purdue.edu::7fa9341a-cabe-4797-868c-5a4860af8213" providerId="AD" clId="Web-{50F8B118-10B0-4FB0-989B-68717EF05CE7}" dt="2021-12-08T00:11:36.294" v="93" actId="20577"/>
          <ac:spMkLst>
            <pc:docMk/>
            <pc:sldMk cId="3734496598" sldId="2706"/>
            <ac:spMk id="39" creationId="{A2E5C720-097B-4E45-B76E-FE8ED7DCE248}"/>
          </ac:spMkLst>
        </pc:spChg>
        <pc:spChg chg="add mod">
          <ac:chgData name="Soni, Vineet Suhas" userId="S::vsoni@purdue.edu::7fa9341a-cabe-4797-868c-5a4860af8213" providerId="AD" clId="Web-{50F8B118-10B0-4FB0-989B-68717EF05CE7}" dt="2021-12-08T00:11:48.013" v="101" actId="1076"/>
          <ac:spMkLst>
            <pc:docMk/>
            <pc:sldMk cId="3734496598" sldId="2706"/>
            <ac:spMk id="40" creationId="{5A299819-3D78-485B-8A67-3DE24BD00C67}"/>
          </ac:spMkLst>
        </pc:spChg>
        <pc:spChg chg="mod">
          <ac:chgData name="Soni, Vineet Suhas" userId="S::vsoni@purdue.edu::7fa9341a-cabe-4797-868c-5a4860af8213" providerId="AD" clId="Web-{50F8B118-10B0-4FB0-989B-68717EF05CE7}" dt="2021-12-08T00:18:54.042" v="157" actId="14100"/>
          <ac:spMkLst>
            <pc:docMk/>
            <pc:sldMk cId="3734496598" sldId="2706"/>
            <ac:spMk id="57" creationId="{413D94E8-A61C-40E2-B541-B332BDEBCCB6}"/>
          </ac:spMkLst>
        </pc:spChg>
        <pc:spChg chg="mod">
          <ac:chgData name="Soni, Vineet Suhas" userId="S::vsoni@purdue.edu::7fa9341a-cabe-4797-868c-5a4860af8213" providerId="AD" clId="Web-{50F8B118-10B0-4FB0-989B-68717EF05CE7}" dt="2021-12-08T00:09:24.030" v="51" actId="1076"/>
          <ac:spMkLst>
            <pc:docMk/>
            <pc:sldMk cId="3734496598" sldId="2706"/>
            <ac:spMk id="60" creationId="{EDAED089-E598-410E-84D2-7833384C5401}"/>
          </ac:spMkLst>
        </pc:spChg>
        <pc:spChg chg="mod">
          <ac:chgData name="Soni, Vineet Suhas" userId="S::vsoni@purdue.edu::7fa9341a-cabe-4797-868c-5a4860af8213" providerId="AD" clId="Web-{50F8B118-10B0-4FB0-989B-68717EF05CE7}" dt="2021-12-08T00:09:57.264" v="68" actId="1076"/>
          <ac:spMkLst>
            <pc:docMk/>
            <pc:sldMk cId="3734496598" sldId="2706"/>
            <ac:spMk id="63" creationId="{13C6C20A-ED6E-4AB0-B32A-023F5A9C74B6}"/>
          </ac:spMkLst>
        </pc:spChg>
        <pc:spChg chg="mod">
          <ac:chgData name="Soni, Vineet Suhas" userId="S::vsoni@purdue.edu::7fa9341a-cabe-4797-868c-5a4860af8213" providerId="AD" clId="Web-{50F8B118-10B0-4FB0-989B-68717EF05CE7}" dt="2021-12-08T00:10:04.670" v="71" actId="1076"/>
          <ac:spMkLst>
            <pc:docMk/>
            <pc:sldMk cId="3734496598" sldId="2706"/>
            <ac:spMk id="66" creationId="{BC55EF82-5F39-4FBE-9FB9-F71800FA3BB4}"/>
          </ac:spMkLst>
        </pc:spChg>
        <pc:spChg chg="mod">
          <ac:chgData name="Soni, Vineet Suhas" userId="S::vsoni@purdue.edu::7fa9341a-cabe-4797-868c-5a4860af8213" providerId="AD" clId="Web-{50F8B118-10B0-4FB0-989B-68717EF05CE7}" dt="2021-12-08T00:13:06.887" v="116" actId="1076"/>
          <ac:spMkLst>
            <pc:docMk/>
            <pc:sldMk cId="3734496598" sldId="2706"/>
            <ac:spMk id="69" creationId="{ECEB6EB5-9841-4006-A6D2-0A3C75218D4A}"/>
          </ac:spMkLst>
        </pc:spChg>
        <pc:spChg chg="mod">
          <ac:chgData name="Soni, Vineet Suhas" userId="S::vsoni@purdue.edu::7fa9341a-cabe-4797-868c-5a4860af8213" providerId="AD" clId="Web-{50F8B118-10B0-4FB0-989B-68717EF05CE7}" dt="2021-12-08T00:18:35.542" v="151" actId="20577"/>
          <ac:spMkLst>
            <pc:docMk/>
            <pc:sldMk cId="3734496598" sldId="2706"/>
            <ac:spMk id="118" creationId="{95FF522F-BEFF-41DD-91A4-746F3123B63B}"/>
          </ac:spMkLst>
        </pc:spChg>
        <pc:spChg chg="mod">
          <ac:chgData name="Soni, Vineet Suhas" userId="S::vsoni@purdue.edu::7fa9341a-cabe-4797-868c-5a4860af8213" providerId="AD" clId="Web-{50F8B118-10B0-4FB0-989B-68717EF05CE7}" dt="2021-12-08T00:19:42.354" v="159" actId="1076"/>
          <ac:spMkLst>
            <pc:docMk/>
            <pc:sldMk cId="3734496598" sldId="2706"/>
            <ac:spMk id="119" creationId="{35A3E92B-CD5C-421A-90F4-89FE407B2469}"/>
          </ac:spMkLst>
        </pc:spChg>
        <pc:spChg chg="mod">
          <ac:chgData name="Soni, Vineet Suhas" userId="S::vsoni@purdue.edu::7fa9341a-cabe-4797-868c-5a4860af8213" providerId="AD" clId="Web-{50F8B118-10B0-4FB0-989B-68717EF05CE7}" dt="2021-12-08T00:10:20.607" v="75" actId="1076"/>
          <ac:spMkLst>
            <pc:docMk/>
            <pc:sldMk cId="3734496598" sldId="2706"/>
            <ac:spMk id="120" creationId="{4FFC5BF5-63C8-43C0-9B51-05A0554F85F4}"/>
          </ac:spMkLst>
        </pc:spChg>
        <pc:spChg chg="mod">
          <ac:chgData name="Soni, Vineet Suhas" userId="S::vsoni@purdue.edu::7fa9341a-cabe-4797-868c-5a4860af8213" providerId="AD" clId="Web-{50F8B118-10B0-4FB0-989B-68717EF05CE7}" dt="2021-12-08T00:10:26.889" v="76" actId="1076"/>
          <ac:spMkLst>
            <pc:docMk/>
            <pc:sldMk cId="3734496598" sldId="2706"/>
            <ac:spMk id="121" creationId="{A9E78826-6B60-4734-967D-4C3D5BA2E2C1}"/>
          </ac:spMkLst>
        </pc:spChg>
        <pc:spChg chg="mod">
          <ac:chgData name="Soni, Vineet Suhas" userId="S::vsoni@purdue.edu::7fa9341a-cabe-4797-868c-5a4860af8213" providerId="AD" clId="Web-{50F8B118-10B0-4FB0-989B-68717EF05CE7}" dt="2021-12-08T00:10:30.498" v="77" actId="1076"/>
          <ac:spMkLst>
            <pc:docMk/>
            <pc:sldMk cId="3734496598" sldId="2706"/>
            <ac:spMk id="122" creationId="{BAE61534-2E6B-4949-9C54-ECC679663633}"/>
          </ac:spMkLst>
        </pc:spChg>
        <pc:spChg chg="mod">
          <ac:chgData name="Soni, Vineet Suhas" userId="S::vsoni@purdue.edu::7fa9341a-cabe-4797-868c-5a4860af8213" providerId="AD" clId="Web-{50F8B118-10B0-4FB0-989B-68717EF05CE7}" dt="2021-12-08T00:11:55.497" v="102" actId="1076"/>
          <ac:spMkLst>
            <pc:docMk/>
            <pc:sldMk cId="3734496598" sldId="2706"/>
            <ac:spMk id="123" creationId="{0722AB56-9D27-438B-8CE7-1096973FF999}"/>
          </ac:spMkLst>
        </pc:spChg>
        <pc:spChg chg="mod">
          <ac:chgData name="Soni, Vineet Suhas" userId="S::vsoni@purdue.edu::7fa9341a-cabe-4797-868c-5a4860af8213" providerId="AD" clId="Web-{50F8B118-10B0-4FB0-989B-68717EF05CE7}" dt="2021-12-08T00:12:10.294" v="104" actId="1076"/>
          <ac:spMkLst>
            <pc:docMk/>
            <pc:sldMk cId="3734496598" sldId="2706"/>
            <ac:spMk id="124" creationId="{81421612-D948-45B7-A876-8C9DFC6EABE0}"/>
          </ac:spMkLst>
        </pc:spChg>
        <pc:spChg chg="mod">
          <ac:chgData name="Soni, Vineet Suhas" userId="S::vsoni@purdue.edu::7fa9341a-cabe-4797-868c-5a4860af8213" providerId="AD" clId="Web-{50F8B118-10B0-4FB0-989B-68717EF05CE7}" dt="2021-12-08T00:12:18.513" v="105" actId="1076"/>
          <ac:spMkLst>
            <pc:docMk/>
            <pc:sldMk cId="3734496598" sldId="2706"/>
            <ac:spMk id="125" creationId="{041F7293-D7C7-4851-8450-9D12CAF0F135}"/>
          </ac:spMkLst>
        </pc:spChg>
        <pc:spChg chg="mod">
          <ac:chgData name="Soni, Vineet Suhas" userId="S::vsoni@purdue.edu::7fa9341a-cabe-4797-868c-5a4860af8213" providerId="AD" clId="Web-{50F8B118-10B0-4FB0-989B-68717EF05CE7}" dt="2021-12-08T00:12:43.684" v="112" actId="20577"/>
          <ac:spMkLst>
            <pc:docMk/>
            <pc:sldMk cId="3734496598" sldId="2706"/>
            <ac:spMk id="126" creationId="{319BBAA4-5F35-40F0-9D27-56E1696ACEB3}"/>
          </ac:spMkLst>
        </pc:spChg>
        <pc:spChg chg="mod">
          <ac:chgData name="Soni, Vineet Suhas" userId="S::vsoni@purdue.edu::7fa9341a-cabe-4797-868c-5a4860af8213" providerId="AD" clId="Web-{50F8B118-10B0-4FB0-989B-68717EF05CE7}" dt="2021-12-08T00:14:03.215" v="134" actId="20577"/>
          <ac:spMkLst>
            <pc:docMk/>
            <pc:sldMk cId="3734496598" sldId="2706"/>
            <ac:spMk id="127" creationId="{24BEAEDC-1B48-4206-B4FA-5BB5490E82E1}"/>
          </ac:spMkLst>
        </pc:spChg>
        <pc:spChg chg="mod">
          <ac:chgData name="Soni, Vineet Suhas" userId="S::vsoni@purdue.edu::7fa9341a-cabe-4797-868c-5a4860af8213" providerId="AD" clId="Web-{50F8B118-10B0-4FB0-989B-68717EF05CE7}" dt="2021-12-08T00:14:25.418" v="141" actId="1076"/>
          <ac:spMkLst>
            <pc:docMk/>
            <pc:sldMk cId="3734496598" sldId="2706"/>
            <ac:spMk id="128" creationId="{3393C950-999B-4B88-A849-327D11EE0899}"/>
          </ac:spMkLst>
        </pc:spChg>
        <pc:spChg chg="mod">
          <ac:chgData name="Soni, Vineet Suhas" userId="S::vsoni@purdue.edu::7fa9341a-cabe-4797-868c-5a4860af8213" providerId="AD" clId="Web-{50F8B118-10B0-4FB0-989B-68717EF05CE7}" dt="2021-12-08T00:13:24.325" v="121" actId="20577"/>
          <ac:spMkLst>
            <pc:docMk/>
            <pc:sldMk cId="3734496598" sldId="2706"/>
            <ac:spMk id="129" creationId="{A57A64C0-A34F-4529-A630-75D3C82F5F2D}"/>
          </ac:spMkLst>
        </pc:spChg>
        <pc:spChg chg="mod">
          <ac:chgData name="Soni, Vineet Suhas" userId="S::vsoni@purdue.edu::7fa9341a-cabe-4797-868c-5a4860af8213" providerId="AD" clId="Web-{50F8B118-10B0-4FB0-989B-68717EF05CE7}" dt="2021-12-08T00:13:38.528" v="127" actId="20577"/>
          <ac:spMkLst>
            <pc:docMk/>
            <pc:sldMk cId="3734496598" sldId="2706"/>
            <ac:spMk id="130" creationId="{B95026DE-DD33-4A3D-AC73-A52AE90A445B}"/>
          </ac:spMkLst>
        </pc:spChg>
        <pc:spChg chg="mod">
          <ac:chgData name="Soni, Vineet Suhas" userId="S::vsoni@purdue.edu::7fa9341a-cabe-4797-868c-5a4860af8213" providerId="AD" clId="Web-{50F8B118-10B0-4FB0-989B-68717EF05CE7}" dt="2021-12-08T00:13:50.840" v="132" actId="20577"/>
          <ac:spMkLst>
            <pc:docMk/>
            <pc:sldMk cId="3734496598" sldId="2706"/>
            <ac:spMk id="131" creationId="{2C134FFD-9053-44B5-B4EC-70E30A459622}"/>
          </ac:spMkLst>
        </pc:spChg>
        <pc:picChg chg="mod">
          <ac:chgData name="Soni, Vineet Suhas" userId="S::vsoni@purdue.edu::7fa9341a-cabe-4797-868c-5a4860af8213" providerId="AD" clId="Web-{50F8B118-10B0-4FB0-989B-68717EF05CE7}" dt="2021-12-08T00:10:06.607" v="72" actId="1076"/>
          <ac:picMkLst>
            <pc:docMk/>
            <pc:sldMk cId="3734496598" sldId="2706"/>
            <ac:picMk id="75" creationId="{508033A2-4C21-44BE-9A1F-ADCF6B8D482B}"/>
          </ac:picMkLst>
        </pc:picChg>
        <pc:picChg chg="mod">
          <ac:chgData name="Soni, Vineet Suhas" userId="S::vsoni@purdue.edu::7fa9341a-cabe-4797-868c-5a4860af8213" providerId="AD" clId="Web-{50F8B118-10B0-4FB0-989B-68717EF05CE7}" dt="2021-12-08T00:09:59.982" v="69" actId="1076"/>
          <ac:picMkLst>
            <pc:docMk/>
            <pc:sldMk cId="3734496598" sldId="2706"/>
            <ac:picMk id="77" creationId="{DD97B3EC-C03E-41E8-B586-E8ADAA1E4FDA}"/>
          </ac:picMkLst>
        </pc:picChg>
        <pc:picChg chg="mod">
          <ac:chgData name="Soni, Vineet Suhas" userId="S::vsoni@purdue.edu::7fa9341a-cabe-4797-868c-5a4860af8213" providerId="AD" clId="Web-{50F8B118-10B0-4FB0-989B-68717EF05CE7}" dt="2021-12-08T00:13:08.700" v="117" actId="1076"/>
          <ac:picMkLst>
            <pc:docMk/>
            <pc:sldMk cId="3734496598" sldId="2706"/>
            <ac:picMk id="79" creationId="{E1244C9E-39DD-453F-BC1E-D55E2E36233B}"/>
          </ac:picMkLst>
        </pc:picChg>
        <pc:picChg chg="mod">
          <ac:chgData name="Soni, Vineet Suhas" userId="S::vsoni@purdue.edu::7fa9341a-cabe-4797-868c-5a4860af8213" providerId="AD" clId="Web-{50F8B118-10B0-4FB0-989B-68717EF05CE7}" dt="2021-12-08T00:08:03.437" v="32" actId="1076"/>
          <ac:picMkLst>
            <pc:docMk/>
            <pc:sldMk cId="3734496598" sldId="2706"/>
            <ac:picMk id="81" creationId="{29A21259-09B0-4F6A-81EE-74A077D47858}"/>
          </ac:picMkLst>
        </pc:picChg>
        <pc:picChg chg="mod">
          <ac:chgData name="Soni, Vineet Suhas" userId="S::vsoni@purdue.edu::7fa9341a-cabe-4797-868c-5a4860af8213" providerId="AD" clId="Web-{50F8B118-10B0-4FB0-989B-68717EF05CE7}" dt="2021-12-08T00:09:26.498" v="52" actId="1076"/>
          <ac:picMkLst>
            <pc:docMk/>
            <pc:sldMk cId="3734496598" sldId="2706"/>
            <ac:picMk id="113" creationId="{690A064D-FE67-4A35-B273-D418DB665BED}"/>
          </ac:picMkLst>
        </pc:picChg>
      </pc:sldChg>
      <pc:sldChg chg="addSp delSp modSp new">
        <pc:chgData name="Soni, Vineet Suhas" userId="S::vsoni@purdue.edu::7fa9341a-cabe-4797-868c-5a4860af8213" providerId="AD" clId="Web-{50F8B118-10B0-4FB0-989B-68717EF05CE7}" dt="2021-12-08T00:52:10.869" v="163" actId="14100"/>
        <pc:sldMkLst>
          <pc:docMk/>
          <pc:sldMk cId="368601441" sldId="2707"/>
        </pc:sldMkLst>
        <pc:spChg chg="del">
          <ac:chgData name="Soni, Vineet Suhas" userId="S::vsoni@purdue.edu::7fa9341a-cabe-4797-868c-5a4860af8213" providerId="AD" clId="Web-{50F8B118-10B0-4FB0-989B-68717EF05CE7}" dt="2021-12-08T00:51:46.791" v="162"/>
          <ac:spMkLst>
            <pc:docMk/>
            <pc:sldMk cId="368601441" sldId="2707"/>
            <ac:spMk id="3" creationId="{E5CA8FB0-2201-4CBB-8356-A2AF8B054852}"/>
          </ac:spMkLst>
        </pc:spChg>
        <pc:picChg chg="add mod ord">
          <ac:chgData name="Soni, Vineet Suhas" userId="S::vsoni@purdue.edu::7fa9341a-cabe-4797-868c-5a4860af8213" providerId="AD" clId="Web-{50F8B118-10B0-4FB0-989B-68717EF05CE7}" dt="2021-12-08T00:52:10.869" v="163" actId="14100"/>
          <ac:picMkLst>
            <pc:docMk/>
            <pc:sldMk cId="368601441" sldId="2707"/>
            <ac:picMk id="4" creationId="{A61C01D5-7276-401B-AC07-53A9CD212F34}"/>
          </ac:picMkLst>
        </pc:picChg>
      </pc:sldChg>
      <pc:sldChg chg="modSp add replId">
        <pc:chgData name="Soni, Vineet Suhas" userId="S::vsoni@purdue.edu::7fa9341a-cabe-4797-868c-5a4860af8213" providerId="AD" clId="Web-{50F8B118-10B0-4FB0-989B-68717EF05CE7}" dt="2021-12-08T00:00:56.534" v="6" actId="20577"/>
        <pc:sldMkLst>
          <pc:docMk/>
          <pc:sldMk cId="3572193111" sldId="2707"/>
        </pc:sldMkLst>
        <pc:spChg chg="mod">
          <ac:chgData name="Soni, Vineet Suhas" userId="S::vsoni@purdue.edu::7fa9341a-cabe-4797-868c-5a4860af8213" providerId="AD" clId="Web-{50F8B118-10B0-4FB0-989B-68717EF05CE7}" dt="2021-12-08T00:00:56.534" v="6" actId="20577"/>
          <ac:spMkLst>
            <pc:docMk/>
            <pc:sldMk cId="3572193111" sldId="2707"/>
            <ac:spMk id="7" creationId="{35C371CC-3336-41A3-BB34-6E2A0C172BE3}"/>
          </ac:spMkLst>
        </pc:spChg>
      </pc:sldChg>
      <pc:sldChg chg="del">
        <pc:chgData name="Soni, Vineet Suhas" userId="S::vsoni@purdue.edu::7fa9341a-cabe-4797-868c-5a4860af8213" providerId="AD" clId="Web-{50F8B118-10B0-4FB0-989B-68717EF05CE7}" dt="2021-12-08T00:51:37.744" v="160"/>
        <pc:sldMkLst>
          <pc:docMk/>
          <pc:sldMk cId="2709579590" sldId="2708"/>
        </pc:sldMkLst>
      </pc:sldChg>
    </pc:docChg>
  </pc:docChgLst>
  <pc:docChgLst>
    <pc:chgData name="Umamahesh, Adithya Bharadwaj" userId="S::aumamahe@purdue.edu::bae0ce40-ba58-49ae-96cc-3750cbefba2b" providerId="AD" clId="Web-{550CB09E-1B5E-41AA-8C15-C30B77FDD451}"/>
    <pc:docChg chg="modSld">
      <pc:chgData name="Umamahesh, Adithya Bharadwaj" userId="S::aumamahe@purdue.edu::bae0ce40-ba58-49ae-96cc-3750cbefba2b" providerId="AD" clId="Web-{550CB09E-1B5E-41AA-8C15-C30B77FDD451}" dt="2021-12-08T02:46:01.287" v="8" actId="1076"/>
      <pc:docMkLst>
        <pc:docMk/>
      </pc:docMkLst>
      <pc:sldChg chg="modSp">
        <pc:chgData name="Umamahesh, Adithya Bharadwaj" userId="S::aumamahe@purdue.edu::bae0ce40-ba58-49ae-96cc-3750cbefba2b" providerId="AD" clId="Web-{550CB09E-1B5E-41AA-8C15-C30B77FDD451}" dt="2021-12-08T02:44:24.770" v="2" actId="14100"/>
        <pc:sldMkLst>
          <pc:docMk/>
          <pc:sldMk cId="3734496598" sldId="2706"/>
        </pc:sldMkLst>
        <pc:spChg chg="mod">
          <ac:chgData name="Umamahesh, Adithya Bharadwaj" userId="S::aumamahe@purdue.edu::bae0ce40-ba58-49ae-96cc-3750cbefba2b" providerId="AD" clId="Web-{550CB09E-1B5E-41AA-8C15-C30B77FDD451}" dt="2021-12-08T02:44:24.770" v="2" actId="14100"/>
          <ac:spMkLst>
            <pc:docMk/>
            <pc:sldMk cId="3734496598" sldId="2706"/>
            <ac:spMk id="2" creationId="{CDD324B7-ED84-4F1D-8F6C-EEA42A2A9B07}"/>
          </ac:spMkLst>
        </pc:spChg>
        <pc:picChg chg="mod">
          <ac:chgData name="Umamahesh, Adithya Bharadwaj" userId="S::aumamahe@purdue.edu::bae0ce40-ba58-49ae-96cc-3750cbefba2b" providerId="AD" clId="Web-{550CB09E-1B5E-41AA-8C15-C30B77FDD451}" dt="2021-12-08T02:39:12.284" v="0" actId="1076"/>
          <ac:picMkLst>
            <pc:docMk/>
            <pc:sldMk cId="3734496598" sldId="2706"/>
            <ac:picMk id="9" creationId="{5332EAF7-AE65-4A4F-9B77-76A0D4B995CF}"/>
          </ac:picMkLst>
        </pc:picChg>
      </pc:sldChg>
      <pc:sldChg chg="addSp modSp">
        <pc:chgData name="Umamahesh, Adithya Bharadwaj" userId="S::aumamahe@purdue.edu::bae0ce40-ba58-49ae-96cc-3750cbefba2b" providerId="AD" clId="Web-{550CB09E-1B5E-41AA-8C15-C30B77FDD451}" dt="2021-12-08T02:46:01.287" v="8" actId="1076"/>
        <pc:sldMkLst>
          <pc:docMk/>
          <pc:sldMk cId="1556732082" sldId="2708"/>
        </pc:sldMkLst>
        <pc:picChg chg="add mod">
          <ac:chgData name="Umamahesh, Adithya Bharadwaj" userId="S::aumamahe@purdue.edu::bae0ce40-ba58-49ae-96cc-3750cbefba2b" providerId="AD" clId="Web-{550CB09E-1B5E-41AA-8C15-C30B77FDD451}" dt="2021-12-08T02:45:59.162" v="7" actId="1076"/>
          <ac:picMkLst>
            <pc:docMk/>
            <pc:sldMk cId="1556732082" sldId="2708"/>
            <ac:picMk id="4" creationId="{9E37D4E3-5500-45A7-B554-2B214AC233D8}"/>
          </ac:picMkLst>
        </pc:picChg>
        <pc:picChg chg="add mod">
          <ac:chgData name="Umamahesh, Adithya Bharadwaj" userId="S::aumamahe@purdue.edu::bae0ce40-ba58-49ae-96cc-3750cbefba2b" providerId="AD" clId="Web-{550CB09E-1B5E-41AA-8C15-C30B77FDD451}" dt="2021-12-08T02:46:01.287" v="8" actId="1076"/>
          <ac:picMkLst>
            <pc:docMk/>
            <pc:sldMk cId="1556732082" sldId="2708"/>
            <ac:picMk id="9" creationId="{40951BDF-C3B8-4FF0-861F-89852BBD5821}"/>
          </ac:picMkLst>
        </pc:picChg>
      </pc:sldChg>
    </pc:docChg>
  </pc:docChgLst>
  <pc:docChgLst>
    <pc:chgData name="Jain, Shreyansh" userId="2845c589-ff3c-4dee-bf29-f4bc1a5e1ae1" providerId="ADAL" clId="{24281453-EFF9-4E20-9CC2-652270410453}"/>
    <pc:docChg chg="undo custSel addSld delSld modSld sldOrd">
      <pc:chgData name="Jain, Shreyansh" userId="2845c589-ff3c-4dee-bf29-f4bc1a5e1ae1" providerId="ADAL" clId="{24281453-EFF9-4E20-9CC2-652270410453}" dt="2021-12-08T16:45:48.331" v="4130" actId="20577"/>
      <pc:docMkLst>
        <pc:docMk/>
      </pc:docMkLst>
      <pc:sldChg chg="addSp delSp modSp del modAnim">
        <pc:chgData name="Jain, Shreyansh" userId="2845c589-ff3c-4dee-bf29-f4bc1a5e1ae1" providerId="ADAL" clId="{24281453-EFF9-4E20-9CC2-652270410453}" dt="2021-12-07T23:57:36.768" v="1819" actId="47"/>
        <pc:sldMkLst>
          <pc:docMk/>
          <pc:sldMk cId="1423132426" sldId="266"/>
        </pc:sldMkLst>
        <pc:spChg chg="mod">
          <ac:chgData name="Jain, Shreyansh" userId="2845c589-ff3c-4dee-bf29-f4bc1a5e1ae1" providerId="ADAL" clId="{24281453-EFF9-4E20-9CC2-652270410453}" dt="2021-12-07T23:40:59.018" v="1381" actId="14100"/>
          <ac:spMkLst>
            <pc:docMk/>
            <pc:sldMk cId="1423132426" sldId="266"/>
            <ac:spMk id="84" creationId="{7ED3C627-B138-4B8E-90D1-7AC859F140F3}"/>
          </ac:spMkLst>
        </pc:spChg>
        <pc:grpChg chg="add del mod">
          <ac:chgData name="Jain, Shreyansh" userId="2845c589-ff3c-4dee-bf29-f4bc1a5e1ae1" providerId="ADAL" clId="{24281453-EFF9-4E20-9CC2-652270410453}" dt="2021-12-07T23:40:59.018" v="1381" actId="14100"/>
          <ac:grpSpMkLst>
            <pc:docMk/>
            <pc:sldMk cId="1423132426" sldId="266"/>
            <ac:grpSpMk id="83" creationId="{340F3993-7F5E-4583-8041-C759D1E96E04}"/>
          </ac:grpSpMkLst>
        </pc:grpChg>
        <pc:picChg chg="mod">
          <ac:chgData name="Jain, Shreyansh" userId="2845c589-ff3c-4dee-bf29-f4bc1a5e1ae1" providerId="ADAL" clId="{24281453-EFF9-4E20-9CC2-652270410453}" dt="2021-12-07T23:40:59.018" v="1381" actId="14100"/>
          <ac:picMkLst>
            <pc:docMk/>
            <pc:sldMk cId="1423132426" sldId="266"/>
            <ac:picMk id="85" creationId="{876DB89A-E798-45EB-B091-7F798E2A5C05}"/>
          </ac:picMkLst>
        </pc:picChg>
      </pc:sldChg>
      <pc:sldChg chg="addSp delSp modSp mod modAnim">
        <pc:chgData name="Jain, Shreyansh" userId="2845c589-ff3c-4dee-bf29-f4bc1a5e1ae1" providerId="ADAL" clId="{24281453-EFF9-4E20-9CC2-652270410453}" dt="2021-12-08T02:20:38.829" v="3264" actId="14100"/>
        <pc:sldMkLst>
          <pc:docMk/>
          <pc:sldMk cId="3495132288" sldId="271"/>
        </pc:sldMkLst>
        <pc:spChg chg="add del mod">
          <ac:chgData name="Jain, Shreyansh" userId="2845c589-ff3c-4dee-bf29-f4bc1a5e1ae1" providerId="ADAL" clId="{24281453-EFF9-4E20-9CC2-652270410453}" dt="2021-12-08T02:20:32.034" v="3261" actId="478"/>
          <ac:spMkLst>
            <pc:docMk/>
            <pc:sldMk cId="3495132288" sldId="271"/>
            <ac:spMk id="3" creationId="{D7B60FBC-6132-4709-9645-EEA3BB4DDCFA}"/>
          </ac:spMkLst>
        </pc:spChg>
        <pc:spChg chg="add mod">
          <ac:chgData name="Jain, Shreyansh" userId="2845c589-ff3c-4dee-bf29-f4bc1a5e1ae1" providerId="ADAL" clId="{24281453-EFF9-4E20-9CC2-652270410453}" dt="2021-12-08T02:20:25.335" v="3260" actId="1076"/>
          <ac:spMkLst>
            <pc:docMk/>
            <pc:sldMk cId="3495132288" sldId="271"/>
            <ac:spMk id="15" creationId="{77C47CA2-9DE8-429B-AD26-F5C31F13D618}"/>
          </ac:spMkLst>
        </pc:spChg>
        <pc:spChg chg="mod">
          <ac:chgData name="Jain, Shreyansh" userId="2845c589-ff3c-4dee-bf29-f4bc1a5e1ae1" providerId="ADAL" clId="{24281453-EFF9-4E20-9CC2-652270410453}" dt="2021-12-08T02:18:24.729" v="3147" actId="20577"/>
          <ac:spMkLst>
            <pc:docMk/>
            <pc:sldMk cId="3495132288" sldId="271"/>
            <ac:spMk id="22" creationId="{A80A98B8-6DAB-784F-AE8C-FDC98086080A}"/>
          </ac:spMkLst>
        </pc:spChg>
        <pc:spChg chg="del mod">
          <ac:chgData name="Jain, Shreyansh" userId="2845c589-ff3c-4dee-bf29-f4bc1a5e1ae1" providerId="ADAL" clId="{24281453-EFF9-4E20-9CC2-652270410453}" dt="2021-12-08T02:20:05.448" v="3231" actId="478"/>
          <ac:spMkLst>
            <pc:docMk/>
            <pc:sldMk cId="3495132288" sldId="271"/>
            <ac:spMk id="23" creationId="{493682FE-6899-FF43-95B7-657C6B6427FB}"/>
          </ac:spMkLst>
        </pc:spChg>
        <pc:spChg chg="mod">
          <ac:chgData name="Jain, Shreyansh" userId="2845c589-ff3c-4dee-bf29-f4bc1a5e1ae1" providerId="ADAL" clId="{24281453-EFF9-4E20-9CC2-652270410453}" dt="2021-12-08T02:19:25.681" v="3219" actId="1076"/>
          <ac:spMkLst>
            <pc:docMk/>
            <pc:sldMk cId="3495132288" sldId="271"/>
            <ac:spMk id="24" creationId="{0DACE07F-6244-2B4D-8A9B-771CC068D471}"/>
          </ac:spMkLst>
        </pc:spChg>
        <pc:spChg chg="mod">
          <ac:chgData name="Jain, Shreyansh" userId="2845c589-ff3c-4dee-bf29-f4bc1a5e1ae1" providerId="ADAL" clId="{24281453-EFF9-4E20-9CC2-652270410453}" dt="2021-12-08T02:18:32.868" v="3148"/>
          <ac:spMkLst>
            <pc:docMk/>
            <pc:sldMk cId="3495132288" sldId="271"/>
            <ac:spMk id="25" creationId="{3920DCCA-3151-3147-B04A-DEF13B632EF3}"/>
          </ac:spMkLst>
        </pc:spChg>
        <pc:spChg chg="mod">
          <ac:chgData name="Jain, Shreyansh" userId="2845c589-ff3c-4dee-bf29-f4bc1a5e1ae1" providerId="ADAL" clId="{24281453-EFF9-4E20-9CC2-652270410453}" dt="2021-12-07T21:55:39.301" v="1110" actId="27636"/>
          <ac:spMkLst>
            <pc:docMk/>
            <pc:sldMk cId="3495132288" sldId="271"/>
            <ac:spMk id="26" creationId="{405B99D8-A9CA-CB42-8089-5A6C9C848782}"/>
          </ac:spMkLst>
        </pc:spChg>
        <pc:picChg chg="mod">
          <ac:chgData name="Jain, Shreyansh" userId="2845c589-ff3c-4dee-bf29-f4bc1a5e1ae1" providerId="ADAL" clId="{24281453-EFF9-4E20-9CC2-652270410453}" dt="2021-12-07T23:35:54.021" v="1336" actId="1076"/>
          <ac:picMkLst>
            <pc:docMk/>
            <pc:sldMk cId="3495132288" sldId="271"/>
            <ac:picMk id="1026" creationId="{0E6309DB-F956-4FF7-AFF1-7E0D079221F9}"/>
          </ac:picMkLst>
        </pc:picChg>
        <pc:picChg chg="mod">
          <ac:chgData name="Jain, Shreyansh" userId="2845c589-ff3c-4dee-bf29-f4bc1a5e1ae1" providerId="ADAL" clId="{24281453-EFF9-4E20-9CC2-652270410453}" dt="2021-12-08T02:20:38.829" v="3264" actId="14100"/>
          <ac:picMkLst>
            <pc:docMk/>
            <pc:sldMk cId="3495132288" sldId="271"/>
            <ac:picMk id="1028" creationId="{074E7A05-B6E0-42EF-B796-E4CBDFBF9FE1}"/>
          </ac:picMkLst>
        </pc:picChg>
        <pc:picChg chg="del">
          <ac:chgData name="Jain, Shreyansh" userId="2845c589-ff3c-4dee-bf29-f4bc1a5e1ae1" providerId="ADAL" clId="{24281453-EFF9-4E20-9CC2-652270410453}" dt="2021-12-08T02:20:33.661" v="3262" actId="478"/>
          <ac:picMkLst>
            <pc:docMk/>
            <pc:sldMk cId="3495132288" sldId="271"/>
            <ac:picMk id="1030" creationId="{65E57F9E-0C8A-4625-A74C-97C9BF4D71AF}"/>
          </ac:picMkLst>
        </pc:picChg>
      </pc:sldChg>
      <pc:sldChg chg="del">
        <pc:chgData name="Jain, Shreyansh" userId="2845c589-ff3c-4dee-bf29-f4bc1a5e1ae1" providerId="ADAL" clId="{24281453-EFF9-4E20-9CC2-652270410453}" dt="2021-12-08T02:58:13.840" v="3733" actId="47"/>
        <pc:sldMkLst>
          <pc:docMk/>
          <pc:sldMk cId="446347581" sldId="290"/>
        </pc:sldMkLst>
      </pc:sldChg>
      <pc:sldChg chg="addSp delSp modSp add del mod">
        <pc:chgData name="Jain, Shreyansh" userId="2845c589-ff3c-4dee-bf29-f4bc1a5e1ae1" providerId="ADAL" clId="{24281453-EFF9-4E20-9CC2-652270410453}" dt="2021-12-07T23:39:39.494" v="1375" actId="47"/>
        <pc:sldMkLst>
          <pc:docMk/>
          <pc:sldMk cId="1229608239" sldId="344"/>
        </pc:sldMkLst>
        <pc:spChg chg="mod">
          <ac:chgData name="Jain, Shreyansh" userId="2845c589-ff3c-4dee-bf29-f4bc1a5e1ae1" providerId="ADAL" clId="{24281453-EFF9-4E20-9CC2-652270410453}" dt="2021-12-07T23:36:09.514" v="1337" actId="207"/>
          <ac:spMkLst>
            <pc:docMk/>
            <pc:sldMk cId="1229608239" sldId="344"/>
            <ac:spMk id="728" creationId="{00000000-0000-0000-0000-000000000000}"/>
          </ac:spMkLst>
        </pc:spChg>
        <pc:spChg chg="mod">
          <ac:chgData name="Jain, Shreyansh" userId="2845c589-ff3c-4dee-bf29-f4bc1a5e1ae1" providerId="ADAL" clId="{24281453-EFF9-4E20-9CC2-652270410453}" dt="2021-12-07T23:36:14.274" v="1338" actId="207"/>
          <ac:spMkLst>
            <pc:docMk/>
            <pc:sldMk cId="1229608239" sldId="344"/>
            <ac:spMk id="729" creationId="{00000000-0000-0000-0000-000000000000}"/>
          </ac:spMkLst>
        </pc:spChg>
        <pc:spChg chg="mod">
          <ac:chgData name="Jain, Shreyansh" userId="2845c589-ff3c-4dee-bf29-f4bc1a5e1ae1" providerId="ADAL" clId="{24281453-EFF9-4E20-9CC2-652270410453}" dt="2021-12-07T23:36:19.391" v="1339" actId="207"/>
          <ac:spMkLst>
            <pc:docMk/>
            <pc:sldMk cId="1229608239" sldId="344"/>
            <ac:spMk id="730" creationId="{00000000-0000-0000-0000-000000000000}"/>
          </ac:spMkLst>
        </pc:spChg>
        <pc:spChg chg="mod">
          <ac:chgData name="Jain, Shreyansh" userId="2845c589-ff3c-4dee-bf29-f4bc1a5e1ae1" providerId="ADAL" clId="{24281453-EFF9-4E20-9CC2-652270410453}" dt="2021-12-07T23:36:26.309" v="1340" actId="207"/>
          <ac:spMkLst>
            <pc:docMk/>
            <pc:sldMk cId="1229608239" sldId="344"/>
            <ac:spMk id="731" creationId="{00000000-0000-0000-0000-000000000000}"/>
          </ac:spMkLst>
        </pc:spChg>
        <pc:spChg chg="mod">
          <ac:chgData name="Jain, Shreyansh" userId="2845c589-ff3c-4dee-bf29-f4bc1a5e1ae1" providerId="ADAL" clId="{24281453-EFF9-4E20-9CC2-652270410453}" dt="2021-12-07T23:36:52.260" v="1346" actId="207"/>
          <ac:spMkLst>
            <pc:docMk/>
            <pc:sldMk cId="1229608239" sldId="344"/>
            <ac:spMk id="738" creationId="{00000000-0000-0000-0000-000000000000}"/>
          </ac:spMkLst>
        </pc:spChg>
        <pc:spChg chg="mod">
          <ac:chgData name="Jain, Shreyansh" userId="2845c589-ff3c-4dee-bf29-f4bc1a5e1ae1" providerId="ADAL" clId="{24281453-EFF9-4E20-9CC2-652270410453}" dt="2021-12-07T23:37:01.957" v="1348" actId="207"/>
          <ac:spMkLst>
            <pc:docMk/>
            <pc:sldMk cId="1229608239" sldId="344"/>
            <ac:spMk id="739" creationId="{00000000-0000-0000-0000-000000000000}"/>
          </ac:spMkLst>
        </pc:spChg>
        <pc:spChg chg="mod">
          <ac:chgData name="Jain, Shreyansh" userId="2845c589-ff3c-4dee-bf29-f4bc1a5e1ae1" providerId="ADAL" clId="{24281453-EFF9-4E20-9CC2-652270410453}" dt="2021-12-07T23:36:58.746" v="1347" actId="207"/>
          <ac:spMkLst>
            <pc:docMk/>
            <pc:sldMk cId="1229608239" sldId="344"/>
            <ac:spMk id="741" creationId="{00000000-0000-0000-0000-000000000000}"/>
          </ac:spMkLst>
        </pc:spChg>
        <pc:spChg chg="mod">
          <ac:chgData name="Jain, Shreyansh" userId="2845c589-ff3c-4dee-bf29-f4bc1a5e1ae1" providerId="ADAL" clId="{24281453-EFF9-4E20-9CC2-652270410453}" dt="2021-12-07T23:37:05.314" v="1349" actId="207"/>
          <ac:spMkLst>
            <pc:docMk/>
            <pc:sldMk cId="1229608239" sldId="344"/>
            <ac:spMk id="742" creationId="{00000000-0000-0000-0000-000000000000}"/>
          </ac:spMkLst>
        </pc:spChg>
        <pc:spChg chg="del">
          <ac:chgData name="Jain, Shreyansh" userId="2845c589-ff3c-4dee-bf29-f4bc1a5e1ae1" providerId="ADAL" clId="{24281453-EFF9-4E20-9CC2-652270410453}" dt="2021-12-07T23:35:44.226" v="1334" actId="478"/>
          <ac:spMkLst>
            <pc:docMk/>
            <pc:sldMk cId="1229608239" sldId="344"/>
            <ac:spMk id="918" creationId="{00000000-0000-0000-0000-000000000000}"/>
          </ac:spMkLst>
        </pc:spChg>
        <pc:spChg chg="del">
          <ac:chgData name="Jain, Shreyansh" userId="2845c589-ff3c-4dee-bf29-f4bc1a5e1ae1" providerId="ADAL" clId="{24281453-EFF9-4E20-9CC2-652270410453}" dt="2021-12-07T23:36:30.410" v="1341" actId="478"/>
          <ac:spMkLst>
            <pc:docMk/>
            <pc:sldMk cId="1229608239" sldId="344"/>
            <ac:spMk id="919" creationId="{00000000-0000-0000-0000-000000000000}"/>
          </ac:spMkLst>
        </pc:spChg>
        <pc:spChg chg="del">
          <ac:chgData name="Jain, Shreyansh" userId="2845c589-ff3c-4dee-bf29-f4bc1a5e1ae1" providerId="ADAL" clId="{24281453-EFF9-4E20-9CC2-652270410453}" dt="2021-12-07T23:36:32.565" v="1342" actId="478"/>
          <ac:spMkLst>
            <pc:docMk/>
            <pc:sldMk cId="1229608239" sldId="344"/>
            <ac:spMk id="920" creationId="{00000000-0000-0000-0000-000000000000}"/>
          </ac:spMkLst>
        </pc:spChg>
        <pc:spChg chg="del">
          <ac:chgData name="Jain, Shreyansh" userId="2845c589-ff3c-4dee-bf29-f4bc1a5e1ae1" providerId="ADAL" clId="{24281453-EFF9-4E20-9CC2-652270410453}" dt="2021-12-07T23:36:34.722" v="1343" actId="478"/>
          <ac:spMkLst>
            <pc:docMk/>
            <pc:sldMk cId="1229608239" sldId="344"/>
            <ac:spMk id="921" creationId="{00000000-0000-0000-0000-000000000000}"/>
          </ac:spMkLst>
        </pc:spChg>
        <pc:spChg chg="del">
          <ac:chgData name="Jain, Shreyansh" userId="2845c589-ff3c-4dee-bf29-f4bc1a5e1ae1" providerId="ADAL" clId="{24281453-EFF9-4E20-9CC2-652270410453}" dt="2021-12-07T23:36:40.277" v="1344" actId="478"/>
          <ac:spMkLst>
            <pc:docMk/>
            <pc:sldMk cId="1229608239" sldId="344"/>
            <ac:spMk id="922" creationId="{00000000-0000-0000-0000-000000000000}"/>
          </ac:spMkLst>
        </pc:spChg>
        <pc:spChg chg="mod">
          <ac:chgData name="Jain, Shreyansh" userId="2845c589-ff3c-4dee-bf29-f4bc1a5e1ae1" providerId="ADAL" clId="{24281453-EFF9-4E20-9CC2-652270410453}" dt="2021-12-07T23:37:19.195" v="1352" actId="122"/>
          <ac:spMkLst>
            <pc:docMk/>
            <pc:sldMk cId="1229608239" sldId="344"/>
            <ac:spMk id="923" creationId="{00000000-0000-0000-0000-000000000000}"/>
          </ac:spMkLst>
        </pc:spChg>
        <pc:spChg chg="mod">
          <ac:chgData name="Jain, Shreyansh" userId="2845c589-ff3c-4dee-bf29-f4bc1a5e1ae1" providerId="ADAL" clId="{24281453-EFF9-4E20-9CC2-652270410453}" dt="2021-12-07T23:37:42.927" v="1358" actId="113"/>
          <ac:spMkLst>
            <pc:docMk/>
            <pc:sldMk cId="1229608239" sldId="344"/>
            <ac:spMk id="924" creationId="{00000000-0000-0000-0000-000000000000}"/>
          </ac:spMkLst>
        </pc:spChg>
        <pc:spChg chg="mod">
          <ac:chgData name="Jain, Shreyansh" userId="2845c589-ff3c-4dee-bf29-f4bc1a5e1ae1" providerId="ADAL" clId="{24281453-EFF9-4E20-9CC2-652270410453}" dt="2021-12-07T23:38:19.706" v="1366" actId="122"/>
          <ac:spMkLst>
            <pc:docMk/>
            <pc:sldMk cId="1229608239" sldId="344"/>
            <ac:spMk id="925" creationId="{00000000-0000-0000-0000-000000000000}"/>
          </ac:spMkLst>
        </pc:spChg>
        <pc:spChg chg="mod">
          <ac:chgData name="Jain, Shreyansh" userId="2845c589-ff3c-4dee-bf29-f4bc1a5e1ae1" providerId="ADAL" clId="{24281453-EFF9-4E20-9CC2-652270410453}" dt="2021-12-07T23:38:03.394" v="1362" actId="122"/>
          <ac:spMkLst>
            <pc:docMk/>
            <pc:sldMk cId="1229608239" sldId="344"/>
            <ac:spMk id="926" creationId="{00000000-0000-0000-0000-000000000000}"/>
          </ac:spMkLst>
        </pc:spChg>
        <pc:spChg chg="mod">
          <ac:chgData name="Jain, Shreyansh" userId="2845c589-ff3c-4dee-bf29-f4bc1a5e1ae1" providerId="ADAL" clId="{24281453-EFF9-4E20-9CC2-652270410453}" dt="2021-12-07T23:37:30.130" v="1355" actId="122"/>
          <ac:spMkLst>
            <pc:docMk/>
            <pc:sldMk cId="1229608239" sldId="344"/>
            <ac:spMk id="927" creationId="{00000000-0000-0000-0000-000000000000}"/>
          </ac:spMkLst>
        </pc:spChg>
        <pc:picChg chg="add mod">
          <ac:chgData name="Jain, Shreyansh" userId="2845c589-ff3c-4dee-bf29-f4bc1a5e1ae1" providerId="ADAL" clId="{24281453-EFF9-4E20-9CC2-652270410453}" dt="2021-12-07T23:38:38.069" v="1370" actId="1076"/>
          <ac:picMkLst>
            <pc:docMk/>
            <pc:sldMk cId="1229608239" sldId="344"/>
            <ac:picMk id="37" creationId="{BA92DD48-AA6F-47B6-B8B4-4D68AA167E50}"/>
          </ac:picMkLst>
        </pc:picChg>
        <pc:picChg chg="add mod">
          <ac:chgData name="Jain, Shreyansh" userId="2845c589-ff3c-4dee-bf29-f4bc1a5e1ae1" providerId="ADAL" clId="{24281453-EFF9-4E20-9CC2-652270410453}" dt="2021-12-07T23:38:50.560" v="1374" actId="1076"/>
          <ac:picMkLst>
            <pc:docMk/>
            <pc:sldMk cId="1229608239" sldId="344"/>
            <ac:picMk id="38" creationId="{19F9F318-67DA-46A7-BDFD-F1CC5E8B6E79}"/>
          </ac:picMkLst>
        </pc:picChg>
      </pc:sldChg>
      <pc:sldChg chg="modSp mod modAnim">
        <pc:chgData name="Jain, Shreyansh" userId="2845c589-ff3c-4dee-bf29-f4bc1a5e1ae1" providerId="ADAL" clId="{24281453-EFF9-4E20-9CC2-652270410453}" dt="2021-12-08T03:13:06.845" v="3995" actId="20577"/>
        <pc:sldMkLst>
          <pc:docMk/>
          <pc:sldMk cId="3416100398" sldId="415"/>
        </pc:sldMkLst>
        <pc:spChg chg="mod">
          <ac:chgData name="Jain, Shreyansh" userId="2845c589-ff3c-4dee-bf29-f4bc1a5e1ae1" providerId="ADAL" clId="{24281453-EFF9-4E20-9CC2-652270410453}" dt="2021-12-08T02:04:35.827" v="2888" actId="20577"/>
          <ac:spMkLst>
            <pc:docMk/>
            <pc:sldMk cId="3416100398" sldId="415"/>
            <ac:spMk id="77" creationId="{7261EEA9-0639-4CD5-A375-392CAF758EEB}"/>
          </ac:spMkLst>
        </pc:spChg>
        <pc:spChg chg="mod">
          <ac:chgData name="Jain, Shreyansh" userId="2845c589-ff3c-4dee-bf29-f4bc1a5e1ae1" providerId="ADAL" clId="{24281453-EFF9-4E20-9CC2-652270410453}" dt="2021-12-08T03:13:06.845" v="3995" actId="20577"/>
          <ac:spMkLst>
            <pc:docMk/>
            <pc:sldMk cId="3416100398" sldId="415"/>
            <ac:spMk id="88" creationId="{7A8AE3EA-D142-4763-9B3C-C22329A351E0}"/>
          </ac:spMkLst>
        </pc:spChg>
        <pc:spChg chg="mod">
          <ac:chgData name="Jain, Shreyansh" userId="2845c589-ff3c-4dee-bf29-f4bc1a5e1ae1" providerId="ADAL" clId="{24281453-EFF9-4E20-9CC2-652270410453}" dt="2021-12-07T23:52:34.580" v="1695" actId="20577"/>
          <ac:spMkLst>
            <pc:docMk/>
            <pc:sldMk cId="3416100398" sldId="415"/>
            <ac:spMk id="100" creationId="{1E3A0878-2928-4F07-AD31-4ED14E3D05AB}"/>
          </ac:spMkLst>
        </pc:spChg>
      </pc:sldChg>
      <pc:sldChg chg="addSp delSp modSp mod modAnim">
        <pc:chgData name="Jain, Shreyansh" userId="2845c589-ff3c-4dee-bf29-f4bc1a5e1ae1" providerId="ADAL" clId="{24281453-EFF9-4E20-9CC2-652270410453}" dt="2021-12-08T02:07:10.067" v="2927" actId="1038"/>
        <pc:sldMkLst>
          <pc:docMk/>
          <pc:sldMk cId="404424319" sldId="421"/>
        </pc:sldMkLst>
        <pc:spChg chg="mod">
          <ac:chgData name="Jain, Shreyansh" userId="2845c589-ff3c-4dee-bf29-f4bc1a5e1ae1" providerId="ADAL" clId="{24281453-EFF9-4E20-9CC2-652270410453}" dt="2021-12-08T00:10:28.919" v="1868" actId="20577"/>
          <ac:spMkLst>
            <pc:docMk/>
            <pc:sldMk cId="404424319" sldId="421"/>
            <ac:spMk id="16" creationId="{2A30AB11-A34E-164E-9B27-493476639F72}"/>
          </ac:spMkLst>
        </pc:spChg>
        <pc:spChg chg="mod">
          <ac:chgData name="Jain, Shreyansh" userId="2845c589-ff3c-4dee-bf29-f4bc1a5e1ae1" providerId="ADAL" clId="{24281453-EFF9-4E20-9CC2-652270410453}" dt="2021-12-08T02:07:10.067" v="2927" actId="1038"/>
          <ac:spMkLst>
            <pc:docMk/>
            <pc:sldMk cId="404424319" sldId="421"/>
            <ac:spMk id="20" creationId="{8B9A58CF-8D2C-463E-B030-3D0AEE1BA272}"/>
          </ac:spMkLst>
        </pc:spChg>
        <pc:spChg chg="add del mod">
          <ac:chgData name="Jain, Shreyansh" userId="2845c589-ff3c-4dee-bf29-f4bc1a5e1ae1" providerId="ADAL" clId="{24281453-EFF9-4E20-9CC2-652270410453}" dt="2021-12-08T00:09:55.418" v="1843" actId="478"/>
          <ac:spMkLst>
            <pc:docMk/>
            <pc:sldMk cId="404424319" sldId="421"/>
            <ac:spMk id="21" creationId="{2ADF106F-053C-4A17-9B34-474555962DC3}"/>
          </ac:spMkLst>
        </pc:spChg>
        <pc:spChg chg="mod">
          <ac:chgData name="Jain, Shreyansh" userId="2845c589-ff3c-4dee-bf29-f4bc1a5e1ae1" providerId="ADAL" clId="{24281453-EFF9-4E20-9CC2-652270410453}" dt="2021-12-08T00:10:00.130" v="1844" actId="14100"/>
          <ac:spMkLst>
            <pc:docMk/>
            <pc:sldMk cId="404424319" sldId="421"/>
            <ac:spMk id="22" creationId="{0B84EC8B-A346-4F88-87EB-43028C15F629}"/>
          </ac:spMkLst>
        </pc:spChg>
        <pc:spChg chg="del">
          <ac:chgData name="Jain, Shreyansh" userId="2845c589-ff3c-4dee-bf29-f4bc1a5e1ae1" providerId="ADAL" clId="{24281453-EFF9-4E20-9CC2-652270410453}" dt="2021-12-08T00:09:50.729" v="1841" actId="478"/>
          <ac:spMkLst>
            <pc:docMk/>
            <pc:sldMk cId="404424319" sldId="421"/>
            <ac:spMk id="23" creationId="{B4B96169-7B1A-4766-A991-937782BE80C4}"/>
          </ac:spMkLst>
        </pc:spChg>
        <pc:spChg chg="del">
          <ac:chgData name="Jain, Shreyansh" userId="2845c589-ff3c-4dee-bf29-f4bc1a5e1ae1" providerId="ADAL" clId="{24281453-EFF9-4E20-9CC2-652270410453}" dt="2021-12-08T00:09:50.729" v="1841" actId="478"/>
          <ac:spMkLst>
            <pc:docMk/>
            <pc:sldMk cId="404424319" sldId="421"/>
            <ac:spMk id="24" creationId="{C06DB655-6935-43F9-A6CB-C837EA7A7A68}"/>
          </ac:spMkLst>
        </pc:spChg>
        <pc:spChg chg="mod">
          <ac:chgData name="Jain, Shreyansh" userId="2845c589-ff3c-4dee-bf29-f4bc1a5e1ae1" providerId="ADAL" clId="{24281453-EFF9-4E20-9CC2-652270410453}" dt="2021-12-07T21:25:45.845" v="247" actId="404"/>
          <ac:spMkLst>
            <pc:docMk/>
            <pc:sldMk cId="404424319" sldId="421"/>
            <ac:spMk id="25" creationId="{70E77BAB-0055-4DA1-885C-7FEF43183E3A}"/>
          </ac:spMkLst>
        </pc:spChg>
        <pc:spChg chg="del">
          <ac:chgData name="Jain, Shreyansh" userId="2845c589-ff3c-4dee-bf29-f4bc1a5e1ae1" providerId="ADAL" clId="{24281453-EFF9-4E20-9CC2-652270410453}" dt="2021-12-08T00:09:53.284" v="1842" actId="478"/>
          <ac:spMkLst>
            <pc:docMk/>
            <pc:sldMk cId="404424319" sldId="421"/>
            <ac:spMk id="26" creationId="{503E4510-04E5-45AB-AD3B-5E434AABE498}"/>
          </ac:spMkLst>
        </pc:spChg>
        <pc:spChg chg="add mod">
          <ac:chgData name="Jain, Shreyansh" userId="2845c589-ff3c-4dee-bf29-f4bc1a5e1ae1" providerId="ADAL" clId="{24281453-EFF9-4E20-9CC2-652270410453}" dt="2021-12-08T02:06:48.651" v="2917" actId="20577"/>
          <ac:spMkLst>
            <pc:docMk/>
            <pc:sldMk cId="404424319" sldId="421"/>
            <ac:spMk id="27" creationId="{BAAAAAA0-257D-4465-A026-AF7707E2030A}"/>
          </ac:spMkLst>
        </pc:spChg>
        <pc:picChg chg="add del mod">
          <ac:chgData name="Jain, Shreyansh" userId="2845c589-ff3c-4dee-bf29-f4bc1a5e1ae1" providerId="ADAL" clId="{24281453-EFF9-4E20-9CC2-652270410453}" dt="2021-12-08T00:09:55.418" v="1843" actId="478"/>
          <ac:picMkLst>
            <pc:docMk/>
            <pc:sldMk cId="404424319" sldId="421"/>
            <ac:picMk id="3" creationId="{16BFD737-CA3C-4E5D-A5F5-F0C771134E3D}"/>
          </ac:picMkLst>
        </pc:picChg>
        <pc:picChg chg="add del mod">
          <ac:chgData name="Jain, Shreyansh" userId="2845c589-ff3c-4dee-bf29-f4bc1a5e1ae1" providerId="ADAL" clId="{24281453-EFF9-4E20-9CC2-652270410453}" dt="2021-12-08T00:09:55.418" v="1843" actId="478"/>
          <ac:picMkLst>
            <pc:docMk/>
            <pc:sldMk cId="404424319" sldId="421"/>
            <ac:picMk id="10" creationId="{038152B1-6900-4C39-B5E6-DED2A1DEB678}"/>
          </ac:picMkLst>
        </pc:picChg>
        <pc:picChg chg="add mod">
          <ac:chgData name="Jain, Shreyansh" userId="2845c589-ff3c-4dee-bf29-f4bc1a5e1ae1" providerId="ADAL" clId="{24281453-EFF9-4E20-9CC2-652270410453}" dt="2021-12-08T00:15:22.739" v="2022" actId="1076"/>
          <ac:picMkLst>
            <pc:docMk/>
            <pc:sldMk cId="404424319" sldId="421"/>
            <ac:picMk id="39939" creationId="{129597DD-90D2-47DB-9FAD-6F30394C7AB5}"/>
          </ac:picMkLst>
        </pc:picChg>
        <pc:picChg chg="add mod">
          <ac:chgData name="Jain, Shreyansh" userId="2845c589-ff3c-4dee-bf29-f4bc1a5e1ae1" providerId="ADAL" clId="{24281453-EFF9-4E20-9CC2-652270410453}" dt="2021-12-08T00:15:15.905" v="2021" actId="1076"/>
          <ac:picMkLst>
            <pc:docMk/>
            <pc:sldMk cId="404424319" sldId="421"/>
            <ac:picMk id="39941" creationId="{7281047E-0248-4A5F-86FA-1ECBEE4EA296}"/>
          </ac:picMkLst>
        </pc:picChg>
      </pc:sldChg>
      <pc:sldChg chg="addSp delSp modSp mod modAnim">
        <pc:chgData name="Jain, Shreyansh" userId="2845c589-ff3c-4dee-bf29-f4bc1a5e1ae1" providerId="ADAL" clId="{24281453-EFF9-4E20-9CC2-652270410453}" dt="2021-12-08T03:16:24.303" v="4053" actId="1076"/>
        <pc:sldMkLst>
          <pc:docMk/>
          <pc:sldMk cId="3064393112" sldId="423"/>
        </pc:sldMkLst>
        <pc:spChg chg="add del">
          <ac:chgData name="Jain, Shreyansh" userId="2845c589-ff3c-4dee-bf29-f4bc1a5e1ae1" providerId="ADAL" clId="{24281453-EFF9-4E20-9CC2-652270410453}" dt="2021-12-08T02:14:30.148" v="3067"/>
          <ac:spMkLst>
            <pc:docMk/>
            <pc:sldMk cId="3064393112" sldId="423"/>
            <ac:spMk id="2" creationId="{39A97262-E8F8-4CED-BE85-6BF172759A07}"/>
          </ac:spMkLst>
        </pc:spChg>
        <pc:spChg chg="add del mod">
          <ac:chgData name="Jain, Shreyansh" userId="2845c589-ff3c-4dee-bf29-f4bc1a5e1ae1" providerId="ADAL" clId="{24281453-EFF9-4E20-9CC2-652270410453}" dt="2021-12-08T00:17:56.366" v="2040" actId="478"/>
          <ac:spMkLst>
            <pc:docMk/>
            <pc:sldMk cId="3064393112" sldId="423"/>
            <ac:spMk id="2" creationId="{8DA8A9EE-793F-4178-83CA-1E91028F5879}"/>
          </ac:spMkLst>
        </pc:spChg>
        <pc:spChg chg="add mod">
          <ac:chgData name="Jain, Shreyansh" userId="2845c589-ff3c-4dee-bf29-f4bc1a5e1ae1" providerId="ADAL" clId="{24281453-EFF9-4E20-9CC2-652270410453}" dt="2021-12-08T03:16:24.303" v="4053" actId="1076"/>
          <ac:spMkLst>
            <pc:docMk/>
            <pc:sldMk cId="3064393112" sldId="423"/>
            <ac:spMk id="3" creationId="{F18E4236-C47F-4ADA-9239-E73C7B0886D5}"/>
          </ac:spMkLst>
        </pc:spChg>
        <pc:spChg chg="mod">
          <ac:chgData name="Jain, Shreyansh" userId="2845c589-ff3c-4dee-bf29-f4bc1a5e1ae1" providerId="ADAL" clId="{24281453-EFF9-4E20-9CC2-652270410453}" dt="2021-12-07T21:29:49.706" v="317" actId="20577"/>
          <ac:spMkLst>
            <pc:docMk/>
            <pc:sldMk cId="3064393112" sldId="423"/>
            <ac:spMk id="13" creationId="{5E6904C7-ED97-4646-81E8-E416A140B2BA}"/>
          </ac:spMkLst>
        </pc:spChg>
        <pc:spChg chg="add mod">
          <ac:chgData name="Jain, Shreyansh" userId="2845c589-ff3c-4dee-bf29-f4bc1a5e1ae1" providerId="ADAL" clId="{24281453-EFF9-4E20-9CC2-652270410453}" dt="2021-12-08T03:15:31.652" v="4048" actId="20577"/>
          <ac:spMkLst>
            <pc:docMk/>
            <pc:sldMk cId="3064393112" sldId="423"/>
            <ac:spMk id="15" creationId="{F5D3971B-1BDD-433A-A9E6-3A6C9FB555EF}"/>
          </ac:spMkLst>
        </pc:spChg>
        <pc:spChg chg="mod">
          <ac:chgData name="Jain, Shreyansh" userId="2845c589-ff3c-4dee-bf29-f4bc1a5e1ae1" providerId="ADAL" clId="{24281453-EFF9-4E20-9CC2-652270410453}" dt="2021-12-08T00:16:06.452" v="2028" actId="14100"/>
          <ac:spMkLst>
            <pc:docMk/>
            <pc:sldMk cId="3064393112" sldId="423"/>
            <ac:spMk id="19" creationId="{E2AF5A19-A456-4C0D-975F-8FB33D9146B9}"/>
          </ac:spMkLst>
        </pc:spChg>
        <pc:spChg chg="del mod">
          <ac:chgData name="Jain, Shreyansh" userId="2845c589-ff3c-4dee-bf29-f4bc1a5e1ae1" providerId="ADAL" clId="{24281453-EFF9-4E20-9CC2-652270410453}" dt="2021-12-08T00:15:51.372" v="2023" actId="478"/>
          <ac:spMkLst>
            <pc:docMk/>
            <pc:sldMk cId="3064393112" sldId="423"/>
            <ac:spMk id="21" creationId="{A0564FD0-AE15-4334-9F84-82F4C8305BF9}"/>
          </ac:spMkLst>
        </pc:spChg>
        <pc:spChg chg="mod">
          <ac:chgData name="Jain, Shreyansh" userId="2845c589-ff3c-4dee-bf29-f4bc1a5e1ae1" providerId="ADAL" clId="{24281453-EFF9-4E20-9CC2-652270410453}" dt="2021-12-08T00:16:00.440" v="2026" actId="14100"/>
          <ac:spMkLst>
            <pc:docMk/>
            <pc:sldMk cId="3064393112" sldId="423"/>
            <ac:spMk id="23" creationId="{157624F9-C141-40B1-9B93-BBFCD66E987C}"/>
          </ac:spMkLst>
        </pc:spChg>
        <pc:spChg chg="mod">
          <ac:chgData name="Jain, Shreyansh" userId="2845c589-ff3c-4dee-bf29-f4bc1a5e1ae1" providerId="ADAL" clId="{24281453-EFF9-4E20-9CC2-652270410453}" dt="2021-12-08T03:15:54.335" v="4051" actId="20577"/>
          <ac:spMkLst>
            <pc:docMk/>
            <pc:sldMk cId="3064393112" sldId="423"/>
            <ac:spMk id="25" creationId="{8FE9C847-1B93-43A3-B916-E78713906795}"/>
          </ac:spMkLst>
        </pc:spChg>
        <pc:spChg chg="del">
          <ac:chgData name="Jain, Shreyansh" userId="2845c589-ff3c-4dee-bf29-f4bc1a5e1ae1" providerId="ADAL" clId="{24281453-EFF9-4E20-9CC2-652270410453}" dt="2021-12-08T00:15:52.797" v="2024" actId="478"/>
          <ac:spMkLst>
            <pc:docMk/>
            <pc:sldMk cId="3064393112" sldId="423"/>
            <ac:spMk id="26" creationId="{C46F91E2-34B0-417E-9E0B-FB504871F9EF}"/>
          </ac:spMkLst>
        </pc:spChg>
        <pc:spChg chg="del mod">
          <ac:chgData name="Jain, Shreyansh" userId="2845c589-ff3c-4dee-bf29-f4bc1a5e1ae1" providerId="ADAL" clId="{24281453-EFF9-4E20-9CC2-652270410453}" dt="2021-12-08T00:15:55.233" v="2025" actId="478"/>
          <ac:spMkLst>
            <pc:docMk/>
            <pc:sldMk cId="3064393112" sldId="423"/>
            <ac:spMk id="27" creationId="{EBD3CE86-91F7-4438-8DFC-57D6822826FF}"/>
          </ac:spMkLst>
        </pc:spChg>
      </pc:sldChg>
      <pc:sldChg chg="addSp delSp modSp mod ord modAnim">
        <pc:chgData name="Jain, Shreyansh" userId="2845c589-ff3c-4dee-bf29-f4bc1a5e1ae1" providerId="ADAL" clId="{24281453-EFF9-4E20-9CC2-652270410453}" dt="2021-12-08T03:27:52.628" v="4083" actId="20577"/>
        <pc:sldMkLst>
          <pc:docMk/>
          <pc:sldMk cId="1355535151" sldId="432"/>
        </pc:sldMkLst>
        <pc:spChg chg="del topLvl">
          <ac:chgData name="Jain, Shreyansh" userId="2845c589-ff3c-4dee-bf29-f4bc1a5e1ae1" providerId="ADAL" clId="{24281453-EFF9-4E20-9CC2-652270410453}" dt="2021-12-08T01:12:54.817" v="2403" actId="478"/>
          <ac:spMkLst>
            <pc:docMk/>
            <pc:sldMk cId="1355535151" sldId="432"/>
            <ac:spMk id="12" creationId="{A76F8E1C-F7E9-4C41-AD91-763A0A8D08C2}"/>
          </ac:spMkLst>
        </pc:spChg>
        <pc:spChg chg="mod topLvl">
          <ac:chgData name="Jain, Shreyansh" userId="2845c589-ff3c-4dee-bf29-f4bc1a5e1ae1" providerId="ADAL" clId="{24281453-EFF9-4E20-9CC2-652270410453}" dt="2021-12-08T02:48:43.136" v="3608" actId="20577"/>
          <ac:spMkLst>
            <pc:docMk/>
            <pc:sldMk cId="1355535151" sldId="432"/>
            <ac:spMk id="13" creationId="{86AA3EF4-479A-1745-A8AF-B5ACEFB21B34}"/>
          </ac:spMkLst>
        </pc:spChg>
        <pc:spChg chg="del topLvl">
          <ac:chgData name="Jain, Shreyansh" userId="2845c589-ff3c-4dee-bf29-f4bc1a5e1ae1" providerId="ADAL" clId="{24281453-EFF9-4E20-9CC2-652270410453}" dt="2021-12-08T01:12:01.812" v="2398" actId="478"/>
          <ac:spMkLst>
            <pc:docMk/>
            <pc:sldMk cId="1355535151" sldId="432"/>
            <ac:spMk id="15" creationId="{FA514F4A-0110-A848-B0AA-228E84C65A6F}"/>
          </ac:spMkLst>
        </pc:spChg>
        <pc:spChg chg="mod topLvl">
          <ac:chgData name="Jain, Shreyansh" userId="2845c589-ff3c-4dee-bf29-f4bc1a5e1ae1" providerId="ADAL" clId="{24281453-EFF9-4E20-9CC2-652270410453}" dt="2021-12-08T02:25:24.254" v="3337" actId="1036"/>
          <ac:spMkLst>
            <pc:docMk/>
            <pc:sldMk cId="1355535151" sldId="432"/>
            <ac:spMk id="16" creationId="{A40F3236-39C8-AC4D-B099-1F2E29F11DF2}"/>
          </ac:spMkLst>
        </pc:spChg>
        <pc:spChg chg="del topLvl">
          <ac:chgData name="Jain, Shreyansh" userId="2845c589-ff3c-4dee-bf29-f4bc1a5e1ae1" providerId="ADAL" clId="{24281453-EFF9-4E20-9CC2-652270410453}" dt="2021-12-08T01:12:10.392" v="2400" actId="478"/>
          <ac:spMkLst>
            <pc:docMk/>
            <pc:sldMk cId="1355535151" sldId="432"/>
            <ac:spMk id="18" creationId="{7E364E69-5431-D843-96FD-02D458C15B28}"/>
          </ac:spMkLst>
        </pc:spChg>
        <pc:spChg chg="mod topLvl">
          <ac:chgData name="Jain, Shreyansh" userId="2845c589-ff3c-4dee-bf29-f4bc1a5e1ae1" providerId="ADAL" clId="{24281453-EFF9-4E20-9CC2-652270410453}" dt="2021-12-08T02:24:04.819" v="3284" actId="1076"/>
          <ac:spMkLst>
            <pc:docMk/>
            <pc:sldMk cId="1355535151" sldId="432"/>
            <ac:spMk id="19" creationId="{42A1EEDA-0CE5-2848-AF4E-AA15A39B1113}"/>
          </ac:spMkLst>
        </pc:spChg>
        <pc:spChg chg="del topLvl">
          <ac:chgData name="Jain, Shreyansh" userId="2845c589-ff3c-4dee-bf29-f4bc1a5e1ae1" providerId="ADAL" clId="{24281453-EFF9-4E20-9CC2-652270410453}" dt="2021-12-08T01:10:27.893" v="2393" actId="478"/>
          <ac:spMkLst>
            <pc:docMk/>
            <pc:sldMk cId="1355535151" sldId="432"/>
            <ac:spMk id="21" creationId="{942CD67F-684C-F349-B42E-0D9EE2FE268B}"/>
          </ac:spMkLst>
        </pc:spChg>
        <pc:spChg chg="mod topLvl">
          <ac:chgData name="Jain, Shreyansh" userId="2845c589-ff3c-4dee-bf29-f4bc1a5e1ae1" providerId="ADAL" clId="{24281453-EFF9-4E20-9CC2-652270410453}" dt="2021-12-08T02:24:16.723" v="3293" actId="1037"/>
          <ac:spMkLst>
            <pc:docMk/>
            <pc:sldMk cId="1355535151" sldId="432"/>
            <ac:spMk id="22" creationId="{D8FB643C-77AF-C64F-A853-95641D95867E}"/>
          </ac:spMkLst>
        </pc:spChg>
        <pc:spChg chg="mod">
          <ac:chgData name="Jain, Shreyansh" userId="2845c589-ff3c-4dee-bf29-f4bc1a5e1ae1" providerId="ADAL" clId="{24281453-EFF9-4E20-9CC2-652270410453}" dt="2021-12-08T03:27:52.628" v="4083" actId="20577"/>
          <ac:spMkLst>
            <pc:docMk/>
            <pc:sldMk cId="1355535151" sldId="432"/>
            <ac:spMk id="28" creationId="{2B495259-37AB-4B6D-BD31-B118894F75D0}"/>
          </ac:spMkLst>
        </pc:spChg>
        <pc:grpChg chg="del">
          <ac:chgData name="Jain, Shreyansh" userId="2845c589-ff3c-4dee-bf29-f4bc1a5e1ae1" providerId="ADAL" clId="{24281453-EFF9-4E20-9CC2-652270410453}" dt="2021-12-08T01:12:54.817" v="2403" actId="478"/>
          <ac:grpSpMkLst>
            <pc:docMk/>
            <pc:sldMk cId="1355535151" sldId="432"/>
            <ac:grpSpMk id="11" creationId="{5C0C4C9C-E96A-BD44-9856-F340FFBD94EF}"/>
          </ac:grpSpMkLst>
        </pc:grpChg>
        <pc:grpChg chg="del">
          <ac:chgData name="Jain, Shreyansh" userId="2845c589-ff3c-4dee-bf29-f4bc1a5e1ae1" providerId="ADAL" clId="{24281453-EFF9-4E20-9CC2-652270410453}" dt="2021-12-08T01:12:01.812" v="2398" actId="478"/>
          <ac:grpSpMkLst>
            <pc:docMk/>
            <pc:sldMk cId="1355535151" sldId="432"/>
            <ac:grpSpMk id="14" creationId="{F47AA416-AEE5-FE4A-A5E0-B8A0125F1277}"/>
          </ac:grpSpMkLst>
        </pc:grpChg>
        <pc:grpChg chg="del mod">
          <ac:chgData name="Jain, Shreyansh" userId="2845c589-ff3c-4dee-bf29-f4bc1a5e1ae1" providerId="ADAL" clId="{24281453-EFF9-4E20-9CC2-652270410453}" dt="2021-12-08T01:12:10.392" v="2400" actId="478"/>
          <ac:grpSpMkLst>
            <pc:docMk/>
            <pc:sldMk cId="1355535151" sldId="432"/>
            <ac:grpSpMk id="17" creationId="{EB681053-28FC-A647-8466-866AB59FBDC5}"/>
          </ac:grpSpMkLst>
        </pc:grpChg>
        <pc:grpChg chg="del">
          <ac:chgData name="Jain, Shreyansh" userId="2845c589-ff3c-4dee-bf29-f4bc1a5e1ae1" providerId="ADAL" clId="{24281453-EFF9-4E20-9CC2-652270410453}" dt="2021-12-08T01:10:27.893" v="2393" actId="478"/>
          <ac:grpSpMkLst>
            <pc:docMk/>
            <pc:sldMk cId="1355535151" sldId="432"/>
            <ac:grpSpMk id="20" creationId="{F5D85F1B-779A-7940-9E0E-FA07354D72A1}"/>
          </ac:grpSpMkLst>
        </pc:grpChg>
        <pc:picChg chg="add mod">
          <ac:chgData name="Jain, Shreyansh" userId="2845c589-ff3c-4dee-bf29-f4bc1a5e1ae1" providerId="ADAL" clId="{24281453-EFF9-4E20-9CC2-652270410453}" dt="2021-12-08T02:23:58.209" v="3283" actId="14100"/>
          <ac:picMkLst>
            <pc:docMk/>
            <pc:sldMk cId="1355535151" sldId="432"/>
            <ac:picMk id="3" creationId="{95370D08-2276-4884-8BA1-D3F60C4A6CFC}"/>
          </ac:picMkLst>
        </pc:picChg>
        <pc:picChg chg="add mod">
          <ac:chgData name="Jain, Shreyansh" userId="2845c589-ff3c-4dee-bf29-f4bc1a5e1ae1" providerId="ADAL" clId="{24281453-EFF9-4E20-9CC2-652270410453}" dt="2021-12-08T02:29:14.837" v="3556" actId="1035"/>
          <ac:picMkLst>
            <pc:docMk/>
            <pc:sldMk cId="1355535151" sldId="432"/>
            <ac:picMk id="11" creationId="{1F80B303-3757-4513-8E13-690D2096DAD7}"/>
          </ac:picMkLst>
        </pc:picChg>
        <pc:picChg chg="add mod">
          <ac:chgData name="Jain, Shreyansh" userId="2845c589-ff3c-4dee-bf29-f4bc1a5e1ae1" providerId="ADAL" clId="{24281453-EFF9-4E20-9CC2-652270410453}" dt="2021-12-08T01:34:28.179" v="2614" actId="1036"/>
          <ac:picMkLst>
            <pc:docMk/>
            <pc:sldMk cId="1355535151" sldId="432"/>
            <ac:picMk id="34" creationId="{6114D2F1-1642-4E35-AAAD-30422C415F64}"/>
          </ac:picMkLst>
        </pc:picChg>
        <pc:picChg chg="add del mod">
          <ac:chgData name="Jain, Shreyansh" userId="2845c589-ff3c-4dee-bf29-f4bc1a5e1ae1" providerId="ADAL" clId="{24281453-EFF9-4E20-9CC2-652270410453}" dt="2021-12-08T01:19:35.618" v="2449" actId="478"/>
          <ac:picMkLst>
            <pc:docMk/>
            <pc:sldMk cId="1355535151" sldId="432"/>
            <ac:picMk id="36" creationId="{C507FBF0-3075-40E1-A42D-38FCA7F07661}"/>
          </ac:picMkLst>
        </pc:picChg>
        <pc:picChg chg="add mod">
          <ac:chgData name="Jain, Shreyansh" userId="2845c589-ff3c-4dee-bf29-f4bc1a5e1ae1" providerId="ADAL" clId="{24281453-EFF9-4E20-9CC2-652270410453}" dt="2021-12-08T02:23:41.404" v="3277" actId="1076"/>
          <ac:picMkLst>
            <pc:docMk/>
            <pc:sldMk cId="1355535151" sldId="432"/>
            <ac:picMk id="38" creationId="{948D888B-0540-4DDF-99BE-56151B0CEBB5}"/>
          </ac:picMkLst>
        </pc:picChg>
        <pc:picChg chg="add del mod">
          <ac:chgData name="Jain, Shreyansh" userId="2845c589-ff3c-4dee-bf29-f4bc1a5e1ae1" providerId="ADAL" clId="{24281453-EFF9-4E20-9CC2-652270410453}" dt="2021-12-08T02:28:57.662" v="3540" actId="478"/>
          <ac:picMkLst>
            <pc:docMk/>
            <pc:sldMk cId="1355535151" sldId="432"/>
            <ac:picMk id="40" creationId="{4A702724-C508-429F-900C-7BF04E2103B6}"/>
          </ac:picMkLst>
        </pc:picChg>
        <pc:cxnChg chg="mod">
          <ac:chgData name="Jain, Shreyansh" userId="2845c589-ff3c-4dee-bf29-f4bc1a5e1ae1" providerId="ADAL" clId="{24281453-EFF9-4E20-9CC2-652270410453}" dt="2021-12-08T02:24:49.904" v="3335" actId="14100"/>
          <ac:cxnSpMkLst>
            <pc:docMk/>
            <pc:sldMk cId="1355535151" sldId="432"/>
            <ac:cxnSpMk id="32" creationId="{76EA7803-C07E-DB42-BBEE-CA744BB647B3}"/>
          </ac:cxnSpMkLst>
        </pc:cxnChg>
      </pc:sldChg>
      <pc:sldChg chg="modSp mod ord modAnim">
        <pc:chgData name="Jain, Shreyansh" userId="2845c589-ff3c-4dee-bf29-f4bc1a5e1ae1" providerId="ADAL" clId="{24281453-EFF9-4E20-9CC2-652270410453}" dt="2021-12-08T03:03:53.010" v="3920" actId="20577"/>
        <pc:sldMkLst>
          <pc:docMk/>
          <pc:sldMk cId="4268043350" sldId="433"/>
        </pc:sldMkLst>
        <pc:spChg chg="mod">
          <ac:chgData name="Jain, Shreyansh" userId="2845c589-ff3c-4dee-bf29-f4bc1a5e1ae1" providerId="ADAL" clId="{24281453-EFF9-4E20-9CC2-652270410453}" dt="2021-12-08T02:53:10.395" v="3718" actId="20577"/>
          <ac:spMkLst>
            <pc:docMk/>
            <pc:sldMk cId="4268043350" sldId="433"/>
            <ac:spMk id="8" creationId="{7ADB159D-E7AF-3C44-94CE-5311D8EEE72F}"/>
          </ac:spMkLst>
        </pc:spChg>
        <pc:spChg chg="mod">
          <ac:chgData name="Jain, Shreyansh" userId="2845c589-ff3c-4dee-bf29-f4bc1a5e1ae1" providerId="ADAL" clId="{24281453-EFF9-4E20-9CC2-652270410453}" dt="2021-12-08T03:03:53.010" v="3920" actId="20577"/>
          <ac:spMkLst>
            <pc:docMk/>
            <pc:sldMk cId="4268043350" sldId="433"/>
            <ac:spMk id="9" creationId="{CEC14F36-D70D-004D-AFAB-0F0E5695DD3C}"/>
          </ac:spMkLst>
        </pc:spChg>
        <pc:spChg chg="mod">
          <ac:chgData name="Jain, Shreyansh" userId="2845c589-ff3c-4dee-bf29-f4bc1a5e1ae1" providerId="ADAL" clId="{24281453-EFF9-4E20-9CC2-652270410453}" dt="2021-12-08T03:01:02.633" v="3903" actId="20577"/>
          <ac:spMkLst>
            <pc:docMk/>
            <pc:sldMk cId="4268043350" sldId="433"/>
            <ac:spMk id="10" creationId="{150BE547-9D80-B742-B8B4-8628CB5C2D48}"/>
          </ac:spMkLst>
        </pc:spChg>
      </pc:sldChg>
      <pc:sldChg chg="del">
        <pc:chgData name="Jain, Shreyansh" userId="2845c589-ff3c-4dee-bf29-f4bc1a5e1ae1" providerId="ADAL" clId="{24281453-EFF9-4E20-9CC2-652270410453}" dt="2021-12-07T23:01:48.282" v="1208" actId="47"/>
        <pc:sldMkLst>
          <pc:docMk/>
          <pc:sldMk cId="3632577416" sldId="439"/>
        </pc:sldMkLst>
      </pc:sldChg>
      <pc:sldChg chg="addSp delSp mod addAnim delAnim modAnim">
        <pc:chgData name="Jain, Shreyansh" userId="2845c589-ff3c-4dee-bf29-f4bc1a5e1ae1" providerId="ADAL" clId="{24281453-EFF9-4E20-9CC2-652270410453}" dt="2021-12-07T23:23:01.604" v="1312" actId="478"/>
        <pc:sldMkLst>
          <pc:docMk/>
          <pc:sldMk cId="1706630155" sldId="440"/>
        </pc:sldMkLst>
        <pc:spChg chg="add del">
          <ac:chgData name="Jain, Shreyansh" userId="2845c589-ff3c-4dee-bf29-f4bc1a5e1ae1" providerId="ADAL" clId="{24281453-EFF9-4E20-9CC2-652270410453}" dt="2021-12-07T23:23:01.604" v="1312" actId="478"/>
          <ac:spMkLst>
            <pc:docMk/>
            <pc:sldMk cId="1706630155" sldId="440"/>
            <ac:spMk id="2" creationId="{961B24D0-1E36-4A91-BEF5-005D4B9D2B77}"/>
          </ac:spMkLst>
        </pc:spChg>
        <pc:spChg chg="add del">
          <ac:chgData name="Jain, Shreyansh" userId="2845c589-ff3c-4dee-bf29-f4bc1a5e1ae1" providerId="ADAL" clId="{24281453-EFF9-4E20-9CC2-652270410453}" dt="2021-12-07T23:23:01.604" v="1312" actId="478"/>
          <ac:spMkLst>
            <pc:docMk/>
            <pc:sldMk cId="1706630155" sldId="440"/>
            <ac:spMk id="3" creationId="{2B7D965B-46B1-4F8F-A475-1827E93E9FD9}"/>
          </ac:spMkLst>
        </pc:spChg>
        <pc:spChg chg="add del">
          <ac:chgData name="Jain, Shreyansh" userId="2845c589-ff3c-4dee-bf29-f4bc1a5e1ae1" providerId="ADAL" clId="{24281453-EFF9-4E20-9CC2-652270410453}" dt="2021-12-07T23:23:01.604" v="1312" actId="478"/>
          <ac:spMkLst>
            <pc:docMk/>
            <pc:sldMk cId="1706630155" sldId="440"/>
            <ac:spMk id="26" creationId="{AAFC420C-3A5D-4789-A697-DC3BBD29CEE3}"/>
          </ac:spMkLst>
        </pc:spChg>
        <pc:spChg chg="add del">
          <ac:chgData name="Jain, Shreyansh" userId="2845c589-ff3c-4dee-bf29-f4bc1a5e1ae1" providerId="ADAL" clId="{24281453-EFF9-4E20-9CC2-652270410453}" dt="2021-12-07T23:23:01.604" v="1312" actId="478"/>
          <ac:spMkLst>
            <pc:docMk/>
            <pc:sldMk cId="1706630155" sldId="440"/>
            <ac:spMk id="27" creationId="{C98781B0-9064-46C2-8497-AAAE84DCA1CC}"/>
          </ac:spMkLst>
        </pc:spChg>
        <pc:spChg chg="add del">
          <ac:chgData name="Jain, Shreyansh" userId="2845c589-ff3c-4dee-bf29-f4bc1a5e1ae1" providerId="ADAL" clId="{24281453-EFF9-4E20-9CC2-652270410453}" dt="2021-12-07T23:23:01.604" v="1312" actId="478"/>
          <ac:spMkLst>
            <pc:docMk/>
            <pc:sldMk cId="1706630155" sldId="440"/>
            <ac:spMk id="28" creationId="{2B495259-37AB-4B6D-BD31-B118894F75D0}"/>
          </ac:spMkLst>
        </pc:spChg>
        <pc:spChg chg="add del">
          <ac:chgData name="Jain, Shreyansh" userId="2845c589-ff3c-4dee-bf29-f4bc1a5e1ae1" providerId="ADAL" clId="{24281453-EFF9-4E20-9CC2-652270410453}" dt="2021-12-07T23:23:01.604" v="1312" actId="478"/>
          <ac:spMkLst>
            <pc:docMk/>
            <pc:sldMk cId="1706630155" sldId="440"/>
            <ac:spMk id="38" creationId="{529059FA-6222-4940-884A-07094558FCA8}"/>
          </ac:spMkLst>
        </pc:spChg>
        <pc:spChg chg="add del">
          <ac:chgData name="Jain, Shreyansh" userId="2845c589-ff3c-4dee-bf29-f4bc1a5e1ae1" providerId="ADAL" clId="{24281453-EFF9-4E20-9CC2-652270410453}" dt="2021-12-07T23:23:01.604" v="1312" actId="478"/>
          <ac:spMkLst>
            <pc:docMk/>
            <pc:sldMk cId="1706630155" sldId="440"/>
            <ac:spMk id="39" creationId="{1D6A1C82-2FF6-4F03-8C0D-60BC2966A109}"/>
          </ac:spMkLst>
        </pc:spChg>
        <pc:spChg chg="add del">
          <ac:chgData name="Jain, Shreyansh" userId="2845c589-ff3c-4dee-bf29-f4bc1a5e1ae1" providerId="ADAL" clId="{24281453-EFF9-4E20-9CC2-652270410453}" dt="2021-12-07T23:23:01.604" v="1312" actId="478"/>
          <ac:spMkLst>
            <pc:docMk/>
            <pc:sldMk cId="1706630155" sldId="440"/>
            <ac:spMk id="40" creationId="{E7AB213F-A9FB-4890-901A-26873DA5CE41}"/>
          </ac:spMkLst>
        </pc:spChg>
        <pc:spChg chg="add del">
          <ac:chgData name="Jain, Shreyansh" userId="2845c589-ff3c-4dee-bf29-f4bc1a5e1ae1" providerId="ADAL" clId="{24281453-EFF9-4E20-9CC2-652270410453}" dt="2021-12-07T23:23:01.604" v="1312" actId="478"/>
          <ac:spMkLst>
            <pc:docMk/>
            <pc:sldMk cId="1706630155" sldId="440"/>
            <ac:spMk id="47" creationId="{1DFED1D0-E430-4406-9246-5CA239650A75}"/>
          </ac:spMkLst>
        </pc:spChg>
        <pc:spChg chg="add del">
          <ac:chgData name="Jain, Shreyansh" userId="2845c589-ff3c-4dee-bf29-f4bc1a5e1ae1" providerId="ADAL" clId="{24281453-EFF9-4E20-9CC2-652270410453}" dt="2021-12-07T23:23:01.604" v="1312" actId="478"/>
          <ac:spMkLst>
            <pc:docMk/>
            <pc:sldMk cId="1706630155" sldId="440"/>
            <ac:spMk id="48" creationId="{322689EE-5DAA-4067-82F5-510C69D95EA0}"/>
          </ac:spMkLst>
        </pc:spChg>
        <pc:spChg chg="add del">
          <ac:chgData name="Jain, Shreyansh" userId="2845c589-ff3c-4dee-bf29-f4bc1a5e1ae1" providerId="ADAL" clId="{24281453-EFF9-4E20-9CC2-652270410453}" dt="2021-12-07T23:23:01.604" v="1312" actId="478"/>
          <ac:spMkLst>
            <pc:docMk/>
            <pc:sldMk cId="1706630155" sldId="440"/>
            <ac:spMk id="49" creationId="{2D4D09B0-6C17-4C64-A824-38E6D9266B36}"/>
          </ac:spMkLst>
        </pc:spChg>
        <pc:spChg chg="add del">
          <ac:chgData name="Jain, Shreyansh" userId="2845c589-ff3c-4dee-bf29-f4bc1a5e1ae1" providerId="ADAL" clId="{24281453-EFF9-4E20-9CC2-652270410453}" dt="2021-12-07T23:23:01.604" v="1312" actId="478"/>
          <ac:spMkLst>
            <pc:docMk/>
            <pc:sldMk cId="1706630155" sldId="440"/>
            <ac:spMk id="95" creationId="{1550DB06-1C4A-4844-ADD7-FF5AC8F50E05}"/>
          </ac:spMkLst>
        </pc:spChg>
        <pc:spChg chg="add del">
          <ac:chgData name="Jain, Shreyansh" userId="2845c589-ff3c-4dee-bf29-f4bc1a5e1ae1" providerId="ADAL" clId="{24281453-EFF9-4E20-9CC2-652270410453}" dt="2021-12-07T23:23:01.604" v="1312" actId="478"/>
          <ac:spMkLst>
            <pc:docMk/>
            <pc:sldMk cId="1706630155" sldId="440"/>
            <ac:spMk id="96" creationId="{93A2F8A3-01FC-384B-8460-1D7AA51F19F7}"/>
          </ac:spMkLst>
        </pc:spChg>
        <pc:spChg chg="add del">
          <ac:chgData name="Jain, Shreyansh" userId="2845c589-ff3c-4dee-bf29-f4bc1a5e1ae1" providerId="ADAL" clId="{24281453-EFF9-4E20-9CC2-652270410453}" dt="2021-12-07T23:23:01.604" v="1312" actId="478"/>
          <ac:spMkLst>
            <pc:docMk/>
            <pc:sldMk cId="1706630155" sldId="440"/>
            <ac:spMk id="97" creationId="{8F94900D-45F0-534D-9D1E-D0C0FE59FA9A}"/>
          </ac:spMkLst>
        </pc:spChg>
        <pc:spChg chg="add del">
          <ac:chgData name="Jain, Shreyansh" userId="2845c589-ff3c-4dee-bf29-f4bc1a5e1ae1" providerId="ADAL" clId="{24281453-EFF9-4E20-9CC2-652270410453}" dt="2021-12-07T23:23:01.604" v="1312" actId="478"/>
          <ac:spMkLst>
            <pc:docMk/>
            <pc:sldMk cId="1706630155" sldId="440"/>
            <ac:spMk id="98" creationId="{9C82ED3A-5B86-B74E-AE4B-3D8C3996BF4A}"/>
          </ac:spMkLst>
        </pc:spChg>
        <pc:spChg chg="add del">
          <ac:chgData name="Jain, Shreyansh" userId="2845c589-ff3c-4dee-bf29-f4bc1a5e1ae1" providerId="ADAL" clId="{24281453-EFF9-4E20-9CC2-652270410453}" dt="2021-12-07T23:23:01.604" v="1312" actId="478"/>
          <ac:spMkLst>
            <pc:docMk/>
            <pc:sldMk cId="1706630155" sldId="440"/>
            <ac:spMk id="131" creationId="{B21C2A6A-278F-1644-953D-D02763B61D6E}"/>
          </ac:spMkLst>
        </pc:spChg>
        <pc:spChg chg="add del">
          <ac:chgData name="Jain, Shreyansh" userId="2845c589-ff3c-4dee-bf29-f4bc1a5e1ae1" providerId="ADAL" clId="{24281453-EFF9-4E20-9CC2-652270410453}" dt="2021-12-07T23:23:01.604" v="1312" actId="478"/>
          <ac:spMkLst>
            <pc:docMk/>
            <pc:sldMk cId="1706630155" sldId="440"/>
            <ac:spMk id="132" creationId="{18001C7F-F435-644F-9AA9-666D5F27E895}"/>
          </ac:spMkLst>
        </pc:spChg>
        <pc:spChg chg="add del">
          <ac:chgData name="Jain, Shreyansh" userId="2845c589-ff3c-4dee-bf29-f4bc1a5e1ae1" providerId="ADAL" clId="{24281453-EFF9-4E20-9CC2-652270410453}" dt="2021-12-07T23:23:01.604" v="1312" actId="478"/>
          <ac:spMkLst>
            <pc:docMk/>
            <pc:sldMk cId="1706630155" sldId="440"/>
            <ac:spMk id="133" creationId="{373D2CA4-6B9A-F944-9EF7-88C628728277}"/>
          </ac:spMkLst>
        </pc:spChg>
        <pc:spChg chg="add del">
          <ac:chgData name="Jain, Shreyansh" userId="2845c589-ff3c-4dee-bf29-f4bc1a5e1ae1" providerId="ADAL" clId="{24281453-EFF9-4E20-9CC2-652270410453}" dt="2021-12-07T23:23:01.604" v="1312" actId="478"/>
          <ac:spMkLst>
            <pc:docMk/>
            <pc:sldMk cId="1706630155" sldId="440"/>
            <ac:spMk id="134" creationId="{935727C3-A894-2B40-A82E-55E169941918}"/>
          </ac:spMkLst>
        </pc:spChg>
        <pc:grpChg chg="add del">
          <ac:chgData name="Jain, Shreyansh" userId="2845c589-ff3c-4dee-bf29-f4bc1a5e1ae1" providerId="ADAL" clId="{24281453-EFF9-4E20-9CC2-652270410453}" dt="2021-12-07T23:23:01.604" v="1312" actId="478"/>
          <ac:grpSpMkLst>
            <pc:docMk/>
            <pc:sldMk cId="1706630155" sldId="440"/>
            <ac:grpSpMk id="108" creationId="{698B419F-5E5D-DA43-BF49-FF39B6BD39C4}"/>
          </ac:grpSpMkLst>
        </pc:grpChg>
        <pc:grpChg chg="add del">
          <ac:chgData name="Jain, Shreyansh" userId="2845c589-ff3c-4dee-bf29-f4bc1a5e1ae1" providerId="ADAL" clId="{24281453-EFF9-4E20-9CC2-652270410453}" dt="2021-12-07T23:23:01.604" v="1312" actId="478"/>
          <ac:grpSpMkLst>
            <pc:docMk/>
            <pc:sldMk cId="1706630155" sldId="440"/>
            <ac:grpSpMk id="113" creationId="{B6F5441E-CA1B-E747-BF6F-48FA30B08546}"/>
          </ac:grpSpMkLst>
        </pc:grpChg>
        <pc:grpChg chg="add del">
          <ac:chgData name="Jain, Shreyansh" userId="2845c589-ff3c-4dee-bf29-f4bc1a5e1ae1" providerId="ADAL" clId="{24281453-EFF9-4E20-9CC2-652270410453}" dt="2021-12-07T23:23:01.604" v="1312" actId="478"/>
          <ac:grpSpMkLst>
            <pc:docMk/>
            <pc:sldMk cId="1706630155" sldId="440"/>
            <ac:grpSpMk id="118" creationId="{9D6DBC83-B142-9843-9B04-F749A459623E}"/>
          </ac:grpSpMkLst>
        </pc:grpChg>
        <pc:grpChg chg="add del">
          <ac:chgData name="Jain, Shreyansh" userId="2845c589-ff3c-4dee-bf29-f4bc1a5e1ae1" providerId="ADAL" clId="{24281453-EFF9-4E20-9CC2-652270410453}" dt="2021-12-07T23:23:01.604" v="1312" actId="478"/>
          <ac:grpSpMkLst>
            <pc:docMk/>
            <pc:sldMk cId="1706630155" sldId="440"/>
            <ac:grpSpMk id="123" creationId="{4EC382A8-BF86-6441-B1EC-60A948CD2E2A}"/>
          </ac:grpSpMkLst>
        </pc:grpChg>
      </pc:sldChg>
      <pc:sldChg chg="modSp del mod modAnim">
        <pc:chgData name="Jain, Shreyansh" userId="2845c589-ff3c-4dee-bf29-f4bc1a5e1ae1" providerId="ADAL" clId="{24281453-EFF9-4E20-9CC2-652270410453}" dt="2021-12-07T23:26:42.600" v="1320" actId="47"/>
        <pc:sldMkLst>
          <pc:docMk/>
          <pc:sldMk cId="592445058" sldId="442"/>
        </pc:sldMkLst>
        <pc:spChg chg="mod">
          <ac:chgData name="Jain, Shreyansh" userId="2845c589-ff3c-4dee-bf29-f4bc1a5e1ae1" providerId="ADAL" clId="{24281453-EFF9-4E20-9CC2-652270410453}" dt="2021-12-07T21:54:42.168" v="1058" actId="20577"/>
          <ac:spMkLst>
            <pc:docMk/>
            <pc:sldMk cId="592445058" sldId="442"/>
            <ac:spMk id="17" creationId="{424C0444-8172-44F8-9E65-264295061F16}"/>
          </ac:spMkLst>
        </pc:spChg>
      </pc:sldChg>
      <pc:sldChg chg="del">
        <pc:chgData name="Jain, Shreyansh" userId="2845c589-ff3c-4dee-bf29-f4bc1a5e1ae1" providerId="ADAL" clId="{24281453-EFF9-4E20-9CC2-652270410453}" dt="2021-12-07T23:02:54.975" v="1216" actId="47"/>
        <pc:sldMkLst>
          <pc:docMk/>
          <pc:sldMk cId="313221470" sldId="2664"/>
        </pc:sldMkLst>
      </pc:sldChg>
      <pc:sldChg chg="addSp delSp modSp mod ord">
        <pc:chgData name="Jain, Shreyansh" userId="2845c589-ff3c-4dee-bf29-f4bc1a5e1ae1" providerId="ADAL" clId="{24281453-EFF9-4E20-9CC2-652270410453}" dt="2021-12-08T16:43:38.198" v="4084" actId="478"/>
        <pc:sldMkLst>
          <pc:docMk/>
          <pc:sldMk cId="1358154865" sldId="2691"/>
        </pc:sldMkLst>
        <pc:spChg chg="del">
          <ac:chgData name="Jain, Shreyansh" userId="2845c589-ff3c-4dee-bf29-f4bc1a5e1ae1" providerId="ADAL" clId="{24281453-EFF9-4E20-9CC2-652270410453}" dt="2021-12-07T23:02:12.464" v="1211" actId="478"/>
          <ac:spMkLst>
            <pc:docMk/>
            <pc:sldMk cId="1358154865" sldId="2691"/>
            <ac:spMk id="14" creationId="{0AC59A8E-D806-AC43-BA82-51B9626EAB1F}"/>
          </ac:spMkLst>
        </pc:spChg>
        <pc:spChg chg="del">
          <ac:chgData name="Jain, Shreyansh" userId="2845c589-ff3c-4dee-bf29-f4bc1a5e1ae1" providerId="ADAL" clId="{24281453-EFF9-4E20-9CC2-652270410453}" dt="2021-12-07T23:02:12.464" v="1211" actId="478"/>
          <ac:spMkLst>
            <pc:docMk/>
            <pc:sldMk cId="1358154865" sldId="2691"/>
            <ac:spMk id="15" creationId="{CD244B8F-DD06-A94F-BDC5-A59B31E4BA52}"/>
          </ac:spMkLst>
        </pc:spChg>
        <pc:spChg chg="del">
          <ac:chgData name="Jain, Shreyansh" userId="2845c589-ff3c-4dee-bf29-f4bc1a5e1ae1" providerId="ADAL" clId="{24281453-EFF9-4E20-9CC2-652270410453}" dt="2021-12-07T23:02:12.464" v="1211" actId="478"/>
          <ac:spMkLst>
            <pc:docMk/>
            <pc:sldMk cId="1358154865" sldId="2691"/>
            <ac:spMk id="16" creationId="{48343BC8-C9F5-4344-983A-B9C00DFB4CC0}"/>
          </ac:spMkLst>
        </pc:spChg>
        <pc:spChg chg="del">
          <ac:chgData name="Jain, Shreyansh" userId="2845c589-ff3c-4dee-bf29-f4bc1a5e1ae1" providerId="ADAL" clId="{24281453-EFF9-4E20-9CC2-652270410453}" dt="2021-12-07T23:02:12.464" v="1211" actId="478"/>
          <ac:spMkLst>
            <pc:docMk/>
            <pc:sldMk cId="1358154865" sldId="2691"/>
            <ac:spMk id="17" creationId="{8C35BB83-F887-B845-A4C0-EBB9C544B1FB}"/>
          </ac:spMkLst>
        </pc:spChg>
        <pc:spChg chg="del">
          <ac:chgData name="Jain, Shreyansh" userId="2845c589-ff3c-4dee-bf29-f4bc1a5e1ae1" providerId="ADAL" clId="{24281453-EFF9-4E20-9CC2-652270410453}" dt="2021-12-07T23:02:12.464" v="1211" actId="478"/>
          <ac:spMkLst>
            <pc:docMk/>
            <pc:sldMk cId="1358154865" sldId="2691"/>
            <ac:spMk id="18" creationId="{C3E84651-4CEF-414F-BBCB-CBB3544EA948}"/>
          </ac:spMkLst>
        </pc:spChg>
        <pc:spChg chg="del">
          <ac:chgData name="Jain, Shreyansh" userId="2845c589-ff3c-4dee-bf29-f4bc1a5e1ae1" providerId="ADAL" clId="{24281453-EFF9-4E20-9CC2-652270410453}" dt="2021-12-07T23:02:17.172" v="1212" actId="478"/>
          <ac:spMkLst>
            <pc:docMk/>
            <pc:sldMk cId="1358154865" sldId="2691"/>
            <ac:spMk id="20" creationId="{2AF7F88E-4CC1-D94C-9A06-AA122BE3C566}"/>
          </ac:spMkLst>
        </pc:spChg>
        <pc:spChg chg="del">
          <ac:chgData name="Jain, Shreyansh" userId="2845c589-ff3c-4dee-bf29-f4bc1a5e1ae1" providerId="ADAL" clId="{24281453-EFF9-4E20-9CC2-652270410453}" dt="2021-12-07T23:02:12.464" v="1211" actId="478"/>
          <ac:spMkLst>
            <pc:docMk/>
            <pc:sldMk cId="1358154865" sldId="2691"/>
            <ac:spMk id="21" creationId="{CAA5FDE6-BFF1-CC47-9544-8FBF73721DB2}"/>
          </ac:spMkLst>
        </pc:spChg>
        <pc:spChg chg="del">
          <ac:chgData name="Jain, Shreyansh" userId="2845c589-ff3c-4dee-bf29-f4bc1a5e1ae1" providerId="ADAL" clId="{24281453-EFF9-4E20-9CC2-652270410453}" dt="2021-12-07T23:02:09.929" v="1210" actId="478"/>
          <ac:spMkLst>
            <pc:docMk/>
            <pc:sldMk cId="1358154865" sldId="2691"/>
            <ac:spMk id="22" creationId="{CCA92EA2-1A46-5342-A234-B898ADB764D2}"/>
          </ac:spMkLst>
        </pc:spChg>
        <pc:spChg chg="del">
          <ac:chgData name="Jain, Shreyansh" userId="2845c589-ff3c-4dee-bf29-f4bc1a5e1ae1" providerId="ADAL" clId="{24281453-EFF9-4E20-9CC2-652270410453}" dt="2021-12-08T16:43:38.198" v="4084" actId="478"/>
          <ac:spMkLst>
            <pc:docMk/>
            <pc:sldMk cId="1358154865" sldId="2691"/>
            <ac:spMk id="23" creationId="{050055D8-B216-43D3-B844-16C232E67075}"/>
          </ac:spMkLst>
        </pc:spChg>
        <pc:spChg chg="mod">
          <ac:chgData name="Jain, Shreyansh" userId="2845c589-ff3c-4dee-bf29-f4bc1a5e1ae1" providerId="ADAL" clId="{24281453-EFF9-4E20-9CC2-652270410453}" dt="2021-12-08T02:50:15.277" v="3640" actId="20577"/>
          <ac:spMkLst>
            <pc:docMk/>
            <pc:sldMk cId="1358154865" sldId="2691"/>
            <ac:spMk id="30" creationId="{490D244C-C74F-48CA-8CD8-300153C369C9}"/>
          </ac:spMkLst>
        </pc:spChg>
        <pc:spChg chg="mod">
          <ac:chgData name="Jain, Shreyansh" userId="2845c589-ff3c-4dee-bf29-f4bc1a5e1ae1" providerId="ADAL" clId="{24281453-EFF9-4E20-9CC2-652270410453}" dt="2021-12-07T23:02:17.508" v="1213"/>
          <ac:spMkLst>
            <pc:docMk/>
            <pc:sldMk cId="1358154865" sldId="2691"/>
            <ac:spMk id="32" creationId="{4C2F6C00-A0C5-49BF-8488-57B15D35F656}"/>
          </ac:spMkLst>
        </pc:spChg>
        <pc:spChg chg="mod">
          <ac:chgData name="Jain, Shreyansh" userId="2845c589-ff3c-4dee-bf29-f4bc1a5e1ae1" providerId="ADAL" clId="{24281453-EFF9-4E20-9CC2-652270410453}" dt="2021-12-07T23:02:17.508" v="1213"/>
          <ac:spMkLst>
            <pc:docMk/>
            <pc:sldMk cId="1358154865" sldId="2691"/>
            <ac:spMk id="35" creationId="{2A9CAB57-C196-4C1E-90B3-6F6994972F4B}"/>
          </ac:spMkLst>
        </pc:spChg>
        <pc:spChg chg="mod">
          <ac:chgData name="Jain, Shreyansh" userId="2845c589-ff3c-4dee-bf29-f4bc1a5e1ae1" providerId="ADAL" clId="{24281453-EFF9-4E20-9CC2-652270410453}" dt="2021-12-07T23:02:17.508" v="1213"/>
          <ac:spMkLst>
            <pc:docMk/>
            <pc:sldMk cId="1358154865" sldId="2691"/>
            <ac:spMk id="36" creationId="{86B53493-4D5D-4A43-93D9-13E9D8841276}"/>
          </ac:spMkLst>
        </pc:spChg>
        <pc:spChg chg="mod">
          <ac:chgData name="Jain, Shreyansh" userId="2845c589-ff3c-4dee-bf29-f4bc1a5e1ae1" providerId="ADAL" clId="{24281453-EFF9-4E20-9CC2-652270410453}" dt="2021-12-08T00:55:31.177" v="2205" actId="20577"/>
          <ac:spMkLst>
            <pc:docMk/>
            <pc:sldMk cId="1358154865" sldId="2691"/>
            <ac:spMk id="38" creationId="{983E13F1-9FE4-4B81-A90B-F211F6DB5CE5}"/>
          </ac:spMkLst>
        </pc:spChg>
        <pc:spChg chg="mod">
          <ac:chgData name="Jain, Shreyansh" userId="2845c589-ff3c-4dee-bf29-f4bc1a5e1ae1" providerId="ADAL" clId="{24281453-EFF9-4E20-9CC2-652270410453}" dt="2021-12-07T23:02:17.508" v="1213"/>
          <ac:spMkLst>
            <pc:docMk/>
            <pc:sldMk cId="1358154865" sldId="2691"/>
            <ac:spMk id="40" creationId="{4E70B1D2-1E63-4A66-9CFB-89BAA56515BB}"/>
          </ac:spMkLst>
        </pc:spChg>
        <pc:spChg chg="mod">
          <ac:chgData name="Jain, Shreyansh" userId="2845c589-ff3c-4dee-bf29-f4bc1a5e1ae1" providerId="ADAL" clId="{24281453-EFF9-4E20-9CC2-652270410453}" dt="2021-12-07T23:02:17.508" v="1213"/>
          <ac:spMkLst>
            <pc:docMk/>
            <pc:sldMk cId="1358154865" sldId="2691"/>
            <ac:spMk id="43" creationId="{BC0B7684-2F6A-4722-909D-852471D976FE}"/>
          </ac:spMkLst>
        </pc:spChg>
        <pc:spChg chg="mod">
          <ac:chgData name="Jain, Shreyansh" userId="2845c589-ff3c-4dee-bf29-f4bc1a5e1ae1" providerId="ADAL" clId="{24281453-EFF9-4E20-9CC2-652270410453}" dt="2021-12-07T23:02:17.508" v="1213"/>
          <ac:spMkLst>
            <pc:docMk/>
            <pc:sldMk cId="1358154865" sldId="2691"/>
            <ac:spMk id="44" creationId="{30B1B492-3914-400B-A9E3-26948D2A0819}"/>
          </ac:spMkLst>
        </pc:spChg>
        <pc:spChg chg="mod">
          <ac:chgData name="Jain, Shreyansh" userId="2845c589-ff3c-4dee-bf29-f4bc1a5e1ae1" providerId="ADAL" clId="{24281453-EFF9-4E20-9CC2-652270410453}" dt="2021-12-08T02:08:25.912" v="2964" actId="20577"/>
          <ac:spMkLst>
            <pc:docMk/>
            <pc:sldMk cId="1358154865" sldId="2691"/>
            <ac:spMk id="46" creationId="{69BC433F-FB5C-4163-9FC7-E50959957535}"/>
          </ac:spMkLst>
        </pc:spChg>
        <pc:spChg chg="mod">
          <ac:chgData name="Jain, Shreyansh" userId="2845c589-ff3c-4dee-bf29-f4bc1a5e1ae1" providerId="ADAL" clId="{24281453-EFF9-4E20-9CC2-652270410453}" dt="2021-12-07T23:02:17.508" v="1213"/>
          <ac:spMkLst>
            <pc:docMk/>
            <pc:sldMk cId="1358154865" sldId="2691"/>
            <ac:spMk id="48" creationId="{D4FF8C64-F2B9-4A75-8D07-82D01BAE4A55}"/>
          </ac:spMkLst>
        </pc:spChg>
        <pc:spChg chg="mod">
          <ac:chgData name="Jain, Shreyansh" userId="2845c589-ff3c-4dee-bf29-f4bc1a5e1ae1" providerId="ADAL" clId="{24281453-EFF9-4E20-9CC2-652270410453}" dt="2021-12-07T23:02:17.508" v="1213"/>
          <ac:spMkLst>
            <pc:docMk/>
            <pc:sldMk cId="1358154865" sldId="2691"/>
            <ac:spMk id="51" creationId="{3A43AF1F-49BD-42C7-A160-3804FE56960F}"/>
          </ac:spMkLst>
        </pc:spChg>
        <pc:spChg chg="mod">
          <ac:chgData name="Jain, Shreyansh" userId="2845c589-ff3c-4dee-bf29-f4bc1a5e1ae1" providerId="ADAL" clId="{24281453-EFF9-4E20-9CC2-652270410453}" dt="2021-12-07T23:02:17.508" v="1213"/>
          <ac:spMkLst>
            <pc:docMk/>
            <pc:sldMk cId="1358154865" sldId="2691"/>
            <ac:spMk id="52" creationId="{FD2E6811-3916-48F9-887F-65A51E831BFF}"/>
          </ac:spMkLst>
        </pc:spChg>
        <pc:spChg chg="mod">
          <ac:chgData name="Jain, Shreyansh" userId="2845c589-ff3c-4dee-bf29-f4bc1a5e1ae1" providerId="ADAL" clId="{24281453-EFF9-4E20-9CC2-652270410453}" dt="2021-12-08T02:08:14.571" v="2935" actId="20577"/>
          <ac:spMkLst>
            <pc:docMk/>
            <pc:sldMk cId="1358154865" sldId="2691"/>
            <ac:spMk id="54" creationId="{9CA72168-84CE-4813-9377-CD3B754DC2FF}"/>
          </ac:spMkLst>
        </pc:spChg>
        <pc:spChg chg="mod">
          <ac:chgData name="Jain, Shreyansh" userId="2845c589-ff3c-4dee-bf29-f4bc1a5e1ae1" providerId="ADAL" clId="{24281453-EFF9-4E20-9CC2-652270410453}" dt="2021-12-07T23:02:30.476" v="1214" actId="207"/>
          <ac:spMkLst>
            <pc:docMk/>
            <pc:sldMk cId="1358154865" sldId="2691"/>
            <ac:spMk id="56" creationId="{40C28735-08A8-4F6F-9875-373AE4BF9A58}"/>
          </ac:spMkLst>
        </pc:spChg>
        <pc:spChg chg="mod">
          <ac:chgData name="Jain, Shreyansh" userId="2845c589-ff3c-4dee-bf29-f4bc1a5e1ae1" providerId="ADAL" clId="{24281453-EFF9-4E20-9CC2-652270410453}" dt="2021-12-07T23:02:17.508" v="1213"/>
          <ac:spMkLst>
            <pc:docMk/>
            <pc:sldMk cId="1358154865" sldId="2691"/>
            <ac:spMk id="59" creationId="{0925E6A6-6D31-427B-B67A-D6E86B9B2A58}"/>
          </ac:spMkLst>
        </pc:spChg>
        <pc:spChg chg="mod">
          <ac:chgData name="Jain, Shreyansh" userId="2845c589-ff3c-4dee-bf29-f4bc1a5e1ae1" providerId="ADAL" clId="{24281453-EFF9-4E20-9CC2-652270410453}" dt="2021-12-07T23:02:17.508" v="1213"/>
          <ac:spMkLst>
            <pc:docMk/>
            <pc:sldMk cId="1358154865" sldId="2691"/>
            <ac:spMk id="60" creationId="{C73CE287-55EF-4D72-A5F2-0CDE2628B540}"/>
          </ac:spMkLst>
        </pc:spChg>
        <pc:spChg chg="mod">
          <ac:chgData name="Jain, Shreyansh" userId="2845c589-ff3c-4dee-bf29-f4bc1a5e1ae1" providerId="ADAL" clId="{24281453-EFF9-4E20-9CC2-652270410453}" dt="2021-12-07T23:02:17.508" v="1213"/>
          <ac:spMkLst>
            <pc:docMk/>
            <pc:sldMk cId="1358154865" sldId="2691"/>
            <ac:spMk id="62" creationId="{B8FEA491-A855-412C-BFF2-ED60C87C7804}"/>
          </ac:spMkLst>
        </pc:spChg>
        <pc:spChg chg="mod">
          <ac:chgData name="Jain, Shreyansh" userId="2845c589-ff3c-4dee-bf29-f4bc1a5e1ae1" providerId="ADAL" clId="{24281453-EFF9-4E20-9CC2-652270410453}" dt="2021-12-07T23:02:41.215" v="1215" actId="207"/>
          <ac:spMkLst>
            <pc:docMk/>
            <pc:sldMk cId="1358154865" sldId="2691"/>
            <ac:spMk id="64" creationId="{222BEE9C-FEC6-4353-93CE-7BA842BCDC34}"/>
          </ac:spMkLst>
        </pc:spChg>
        <pc:spChg chg="mod">
          <ac:chgData name="Jain, Shreyansh" userId="2845c589-ff3c-4dee-bf29-f4bc1a5e1ae1" providerId="ADAL" clId="{24281453-EFF9-4E20-9CC2-652270410453}" dt="2021-12-07T23:02:17.508" v="1213"/>
          <ac:spMkLst>
            <pc:docMk/>
            <pc:sldMk cId="1358154865" sldId="2691"/>
            <ac:spMk id="67" creationId="{DDA6E48A-B1AF-4D15-BE74-741304DFE0EB}"/>
          </ac:spMkLst>
        </pc:spChg>
        <pc:spChg chg="mod">
          <ac:chgData name="Jain, Shreyansh" userId="2845c589-ff3c-4dee-bf29-f4bc1a5e1ae1" providerId="ADAL" clId="{24281453-EFF9-4E20-9CC2-652270410453}" dt="2021-12-07T23:02:17.508" v="1213"/>
          <ac:spMkLst>
            <pc:docMk/>
            <pc:sldMk cId="1358154865" sldId="2691"/>
            <ac:spMk id="68" creationId="{C605FA13-8DBB-4A02-ADD3-379345D55740}"/>
          </ac:spMkLst>
        </pc:spChg>
        <pc:grpChg chg="add mod">
          <ac:chgData name="Jain, Shreyansh" userId="2845c589-ff3c-4dee-bf29-f4bc1a5e1ae1" providerId="ADAL" clId="{24281453-EFF9-4E20-9CC2-652270410453}" dt="2021-12-07T23:02:17.508" v="1213"/>
          <ac:grpSpMkLst>
            <pc:docMk/>
            <pc:sldMk cId="1358154865" sldId="2691"/>
            <ac:grpSpMk id="24" creationId="{E112B991-1C2A-46A2-A311-2D5E7E4E88FC}"/>
          </ac:grpSpMkLst>
        </pc:grpChg>
        <pc:grpChg chg="mod">
          <ac:chgData name="Jain, Shreyansh" userId="2845c589-ff3c-4dee-bf29-f4bc1a5e1ae1" providerId="ADAL" clId="{24281453-EFF9-4E20-9CC2-652270410453}" dt="2021-12-07T23:02:17.508" v="1213"/>
          <ac:grpSpMkLst>
            <pc:docMk/>
            <pc:sldMk cId="1358154865" sldId="2691"/>
            <ac:grpSpMk id="25" creationId="{DB92F62F-0F57-45A4-95E2-237FF35E2404}"/>
          </ac:grpSpMkLst>
        </pc:grpChg>
        <pc:grpChg chg="mod">
          <ac:chgData name="Jain, Shreyansh" userId="2845c589-ff3c-4dee-bf29-f4bc1a5e1ae1" providerId="ADAL" clId="{24281453-EFF9-4E20-9CC2-652270410453}" dt="2021-12-07T23:02:17.508" v="1213"/>
          <ac:grpSpMkLst>
            <pc:docMk/>
            <pc:sldMk cId="1358154865" sldId="2691"/>
            <ac:grpSpMk id="26" creationId="{97014505-2C16-4922-9F8F-4F9626A3EF31}"/>
          </ac:grpSpMkLst>
        </pc:grpChg>
        <pc:grpChg chg="mod">
          <ac:chgData name="Jain, Shreyansh" userId="2845c589-ff3c-4dee-bf29-f4bc1a5e1ae1" providerId="ADAL" clId="{24281453-EFF9-4E20-9CC2-652270410453}" dt="2021-12-07T23:02:17.508" v="1213"/>
          <ac:grpSpMkLst>
            <pc:docMk/>
            <pc:sldMk cId="1358154865" sldId="2691"/>
            <ac:grpSpMk id="27" creationId="{31EE24DB-B742-47EC-BF17-139CC3DD4D3E}"/>
          </ac:grpSpMkLst>
        </pc:grpChg>
        <pc:grpChg chg="mod">
          <ac:chgData name="Jain, Shreyansh" userId="2845c589-ff3c-4dee-bf29-f4bc1a5e1ae1" providerId="ADAL" clId="{24281453-EFF9-4E20-9CC2-652270410453}" dt="2021-12-07T23:02:17.508" v="1213"/>
          <ac:grpSpMkLst>
            <pc:docMk/>
            <pc:sldMk cId="1358154865" sldId="2691"/>
            <ac:grpSpMk id="28" creationId="{6020D234-67C2-4ACB-A10D-7CCA7DD3C773}"/>
          </ac:grpSpMkLst>
        </pc:grpChg>
        <pc:grpChg chg="mod">
          <ac:chgData name="Jain, Shreyansh" userId="2845c589-ff3c-4dee-bf29-f4bc1a5e1ae1" providerId="ADAL" clId="{24281453-EFF9-4E20-9CC2-652270410453}" dt="2021-12-07T23:02:17.508" v="1213"/>
          <ac:grpSpMkLst>
            <pc:docMk/>
            <pc:sldMk cId="1358154865" sldId="2691"/>
            <ac:grpSpMk id="29" creationId="{BFAF25D0-57AC-4ABC-AA87-705D9C8E5C49}"/>
          </ac:grpSpMkLst>
        </pc:grpChg>
        <pc:grpChg chg="mod">
          <ac:chgData name="Jain, Shreyansh" userId="2845c589-ff3c-4dee-bf29-f4bc1a5e1ae1" providerId="ADAL" clId="{24281453-EFF9-4E20-9CC2-652270410453}" dt="2021-12-07T23:02:17.508" v="1213"/>
          <ac:grpSpMkLst>
            <pc:docMk/>
            <pc:sldMk cId="1358154865" sldId="2691"/>
            <ac:grpSpMk id="31" creationId="{6E26DB95-4DD2-4F41-B8A9-385F33616254}"/>
          </ac:grpSpMkLst>
        </pc:grpChg>
        <pc:grpChg chg="mod">
          <ac:chgData name="Jain, Shreyansh" userId="2845c589-ff3c-4dee-bf29-f4bc1a5e1ae1" providerId="ADAL" clId="{24281453-EFF9-4E20-9CC2-652270410453}" dt="2021-12-07T23:02:17.508" v="1213"/>
          <ac:grpSpMkLst>
            <pc:docMk/>
            <pc:sldMk cId="1358154865" sldId="2691"/>
            <ac:grpSpMk id="33" creationId="{79D183E5-E92F-40F3-A0A2-9D388949B902}"/>
          </ac:grpSpMkLst>
        </pc:grpChg>
        <pc:grpChg chg="mod">
          <ac:chgData name="Jain, Shreyansh" userId="2845c589-ff3c-4dee-bf29-f4bc1a5e1ae1" providerId="ADAL" clId="{24281453-EFF9-4E20-9CC2-652270410453}" dt="2021-12-07T23:02:17.508" v="1213"/>
          <ac:grpSpMkLst>
            <pc:docMk/>
            <pc:sldMk cId="1358154865" sldId="2691"/>
            <ac:grpSpMk id="39" creationId="{93DAB995-67E7-4966-B7B2-2759A1FC5B2C}"/>
          </ac:grpSpMkLst>
        </pc:grpChg>
        <pc:grpChg chg="mod">
          <ac:chgData name="Jain, Shreyansh" userId="2845c589-ff3c-4dee-bf29-f4bc1a5e1ae1" providerId="ADAL" clId="{24281453-EFF9-4E20-9CC2-652270410453}" dt="2021-12-07T23:02:17.508" v="1213"/>
          <ac:grpSpMkLst>
            <pc:docMk/>
            <pc:sldMk cId="1358154865" sldId="2691"/>
            <ac:grpSpMk id="41" creationId="{C111C3E9-E9D0-4AF4-BF1E-91D3E2D2F807}"/>
          </ac:grpSpMkLst>
        </pc:grpChg>
        <pc:grpChg chg="mod">
          <ac:chgData name="Jain, Shreyansh" userId="2845c589-ff3c-4dee-bf29-f4bc1a5e1ae1" providerId="ADAL" clId="{24281453-EFF9-4E20-9CC2-652270410453}" dt="2021-12-07T23:02:17.508" v="1213"/>
          <ac:grpSpMkLst>
            <pc:docMk/>
            <pc:sldMk cId="1358154865" sldId="2691"/>
            <ac:grpSpMk id="47" creationId="{BA7C04F7-2345-4FC5-A927-8A0701B6D8DD}"/>
          </ac:grpSpMkLst>
        </pc:grpChg>
        <pc:grpChg chg="mod">
          <ac:chgData name="Jain, Shreyansh" userId="2845c589-ff3c-4dee-bf29-f4bc1a5e1ae1" providerId="ADAL" clId="{24281453-EFF9-4E20-9CC2-652270410453}" dt="2021-12-07T23:02:17.508" v="1213"/>
          <ac:grpSpMkLst>
            <pc:docMk/>
            <pc:sldMk cId="1358154865" sldId="2691"/>
            <ac:grpSpMk id="49" creationId="{88D55C04-62A6-422E-A310-E5302AA3EE11}"/>
          </ac:grpSpMkLst>
        </pc:grpChg>
        <pc:grpChg chg="mod">
          <ac:chgData name="Jain, Shreyansh" userId="2845c589-ff3c-4dee-bf29-f4bc1a5e1ae1" providerId="ADAL" clId="{24281453-EFF9-4E20-9CC2-652270410453}" dt="2021-12-07T23:02:17.508" v="1213"/>
          <ac:grpSpMkLst>
            <pc:docMk/>
            <pc:sldMk cId="1358154865" sldId="2691"/>
            <ac:grpSpMk id="55" creationId="{8B44BA6B-E1C2-4E79-9A18-EE802CDE426B}"/>
          </ac:grpSpMkLst>
        </pc:grpChg>
        <pc:grpChg chg="mod">
          <ac:chgData name="Jain, Shreyansh" userId="2845c589-ff3c-4dee-bf29-f4bc1a5e1ae1" providerId="ADAL" clId="{24281453-EFF9-4E20-9CC2-652270410453}" dt="2021-12-07T23:02:17.508" v="1213"/>
          <ac:grpSpMkLst>
            <pc:docMk/>
            <pc:sldMk cId="1358154865" sldId="2691"/>
            <ac:grpSpMk id="57" creationId="{55DC320F-EDA8-4BE7-9DA0-54EB556B4807}"/>
          </ac:grpSpMkLst>
        </pc:grpChg>
        <pc:grpChg chg="mod">
          <ac:chgData name="Jain, Shreyansh" userId="2845c589-ff3c-4dee-bf29-f4bc1a5e1ae1" providerId="ADAL" clId="{24281453-EFF9-4E20-9CC2-652270410453}" dt="2021-12-07T23:02:17.508" v="1213"/>
          <ac:grpSpMkLst>
            <pc:docMk/>
            <pc:sldMk cId="1358154865" sldId="2691"/>
            <ac:grpSpMk id="63" creationId="{64CB14E9-22BB-4CBA-8403-7A33EDF137B6}"/>
          </ac:grpSpMkLst>
        </pc:grpChg>
        <pc:grpChg chg="mod">
          <ac:chgData name="Jain, Shreyansh" userId="2845c589-ff3c-4dee-bf29-f4bc1a5e1ae1" providerId="ADAL" clId="{24281453-EFF9-4E20-9CC2-652270410453}" dt="2021-12-07T23:02:17.508" v="1213"/>
          <ac:grpSpMkLst>
            <pc:docMk/>
            <pc:sldMk cId="1358154865" sldId="2691"/>
            <ac:grpSpMk id="65" creationId="{DB0BAFA4-F586-4142-AA24-4B5FCE71E523}"/>
          </ac:grpSpMkLst>
        </pc:grpChg>
        <pc:cxnChg chg="mod">
          <ac:chgData name="Jain, Shreyansh" userId="2845c589-ff3c-4dee-bf29-f4bc1a5e1ae1" providerId="ADAL" clId="{24281453-EFF9-4E20-9CC2-652270410453}" dt="2021-12-07T23:02:17.508" v="1213"/>
          <ac:cxnSpMkLst>
            <pc:docMk/>
            <pc:sldMk cId="1358154865" sldId="2691"/>
            <ac:cxnSpMk id="34" creationId="{AAB0622E-74FE-4CE6-AD10-50101DFE71D7}"/>
          </ac:cxnSpMkLst>
        </pc:cxnChg>
        <pc:cxnChg chg="mod">
          <ac:chgData name="Jain, Shreyansh" userId="2845c589-ff3c-4dee-bf29-f4bc1a5e1ae1" providerId="ADAL" clId="{24281453-EFF9-4E20-9CC2-652270410453}" dt="2021-12-07T23:02:17.508" v="1213"/>
          <ac:cxnSpMkLst>
            <pc:docMk/>
            <pc:sldMk cId="1358154865" sldId="2691"/>
            <ac:cxnSpMk id="37" creationId="{A8EE492F-F236-4653-AAB5-221B2EE8CFA2}"/>
          </ac:cxnSpMkLst>
        </pc:cxnChg>
        <pc:cxnChg chg="mod">
          <ac:chgData name="Jain, Shreyansh" userId="2845c589-ff3c-4dee-bf29-f4bc1a5e1ae1" providerId="ADAL" clId="{24281453-EFF9-4E20-9CC2-652270410453}" dt="2021-12-07T23:02:17.508" v="1213"/>
          <ac:cxnSpMkLst>
            <pc:docMk/>
            <pc:sldMk cId="1358154865" sldId="2691"/>
            <ac:cxnSpMk id="42" creationId="{9456486C-3105-447C-A323-13E872B13F17}"/>
          </ac:cxnSpMkLst>
        </pc:cxnChg>
        <pc:cxnChg chg="mod">
          <ac:chgData name="Jain, Shreyansh" userId="2845c589-ff3c-4dee-bf29-f4bc1a5e1ae1" providerId="ADAL" clId="{24281453-EFF9-4E20-9CC2-652270410453}" dt="2021-12-07T23:02:17.508" v="1213"/>
          <ac:cxnSpMkLst>
            <pc:docMk/>
            <pc:sldMk cId="1358154865" sldId="2691"/>
            <ac:cxnSpMk id="45" creationId="{E2B2D2FD-D772-4FEC-8C6C-948D4E31A5F5}"/>
          </ac:cxnSpMkLst>
        </pc:cxnChg>
        <pc:cxnChg chg="mod">
          <ac:chgData name="Jain, Shreyansh" userId="2845c589-ff3c-4dee-bf29-f4bc1a5e1ae1" providerId="ADAL" clId="{24281453-EFF9-4E20-9CC2-652270410453}" dt="2021-12-07T23:02:17.508" v="1213"/>
          <ac:cxnSpMkLst>
            <pc:docMk/>
            <pc:sldMk cId="1358154865" sldId="2691"/>
            <ac:cxnSpMk id="50" creationId="{155360F9-9D6A-41AE-A0BB-14FC19835E07}"/>
          </ac:cxnSpMkLst>
        </pc:cxnChg>
        <pc:cxnChg chg="mod">
          <ac:chgData name="Jain, Shreyansh" userId="2845c589-ff3c-4dee-bf29-f4bc1a5e1ae1" providerId="ADAL" clId="{24281453-EFF9-4E20-9CC2-652270410453}" dt="2021-12-07T23:02:17.508" v="1213"/>
          <ac:cxnSpMkLst>
            <pc:docMk/>
            <pc:sldMk cId="1358154865" sldId="2691"/>
            <ac:cxnSpMk id="53" creationId="{75D21054-8ECE-469E-8B06-E60FA078B0D1}"/>
          </ac:cxnSpMkLst>
        </pc:cxnChg>
        <pc:cxnChg chg="mod">
          <ac:chgData name="Jain, Shreyansh" userId="2845c589-ff3c-4dee-bf29-f4bc1a5e1ae1" providerId="ADAL" clId="{24281453-EFF9-4E20-9CC2-652270410453}" dt="2021-12-07T23:02:17.508" v="1213"/>
          <ac:cxnSpMkLst>
            <pc:docMk/>
            <pc:sldMk cId="1358154865" sldId="2691"/>
            <ac:cxnSpMk id="58" creationId="{009A3F5B-E975-47B7-96DB-128740609551}"/>
          </ac:cxnSpMkLst>
        </pc:cxnChg>
        <pc:cxnChg chg="mod">
          <ac:chgData name="Jain, Shreyansh" userId="2845c589-ff3c-4dee-bf29-f4bc1a5e1ae1" providerId="ADAL" clId="{24281453-EFF9-4E20-9CC2-652270410453}" dt="2021-12-07T23:02:17.508" v="1213"/>
          <ac:cxnSpMkLst>
            <pc:docMk/>
            <pc:sldMk cId="1358154865" sldId="2691"/>
            <ac:cxnSpMk id="61" creationId="{D04795E9-C071-4033-BF03-C8EB7434992C}"/>
          </ac:cxnSpMkLst>
        </pc:cxnChg>
        <pc:cxnChg chg="mod">
          <ac:chgData name="Jain, Shreyansh" userId="2845c589-ff3c-4dee-bf29-f4bc1a5e1ae1" providerId="ADAL" clId="{24281453-EFF9-4E20-9CC2-652270410453}" dt="2021-12-07T23:02:17.508" v="1213"/>
          <ac:cxnSpMkLst>
            <pc:docMk/>
            <pc:sldMk cId="1358154865" sldId="2691"/>
            <ac:cxnSpMk id="66" creationId="{CDFD1B24-7057-40D2-8C10-46494EBBEEF8}"/>
          </ac:cxnSpMkLst>
        </pc:cxnChg>
        <pc:cxnChg chg="mod">
          <ac:chgData name="Jain, Shreyansh" userId="2845c589-ff3c-4dee-bf29-f4bc1a5e1ae1" providerId="ADAL" clId="{24281453-EFF9-4E20-9CC2-652270410453}" dt="2021-12-07T23:02:17.508" v="1213"/>
          <ac:cxnSpMkLst>
            <pc:docMk/>
            <pc:sldMk cId="1358154865" sldId="2691"/>
            <ac:cxnSpMk id="69" creationId="{2884B008-5164-454F-8FB7-533CDE0A086C}"/>
          </ac:cxnSpMkLst>
        </pc:cxnChg>
      </pc:sldChg>
      <pc:sldChg chg="addSp delSp modSp mod">
        <pc:chgData name="Jain, Shreyansh" userId="2845c589-ff3c-4dee-bf29-f4bc1a5e1ae1" providerId="ADAL" clId="{24281453-EFF9-4E20-9CC2-652270410453}" dt="2021-12-08T02:50:09.086" v="3637"/>
        <pc:sldMkLst>
          <pc:docMk/>
          <pc:sldMk cId="2405197655" sldId="2693"/>
        </pc:sldMkLst>
        <pc:spChg chg="del">
          <ac:chgData name="Jain, Shreyansh" userId="2845c589-ff3c-4dee-bf29-f4bc1a5e1ae1" providerId="ADAL" clId="{24281453-EFF9-4E20-9CC2-652270410453}" dt="2021-12-07T23:01:22.244" v="1203" actId="478"/>
          <ac:spMkLst>
            <pc:docMk/>
            <pc:sldMk cId="2405197655" sldId="2693"/>
            <ac:spMk id="20" creationId="{2AF7F88E-4CC1-D94C-9A06-AA122BE3C566}"/>
          </ac:spMkLst>
        </pc:spChg>
        <pc:spChg chg="del">
          <ac:chgData name="Jain, Shreyansh" userId="2845c589-ff3c-4dee-bf29-f4bc1a5e1ae1" providerId="ADAL" clId="{24281453-EFF9-4E20-9CC2-652270410453}" dt="2021-12-07T23:01:14.558" v="1199" actId="478"/>
          <ac:spMkLst>
            <pc:docMk/>
            <pc:sldMk cId="2405197655" sldId="2693"/>
            <ac:spMk id="21" creationId="{CAA5FDE6-BFF1-CC47-9544-8FBF73721DB2}"/>
          </ac:spMkLst>
        </pc:spChg>
        <pc:spChg chg="del">
          <ac:chgData name="Jain, Shreyansh" userId="2845c589-ff3c-4dee-bf29-f4bc1a5e1ae1" providerId="ADAL" clId="{24281453-EFF9-4E20-9CC2-652270410453}" dt="2021-12-07T23:01:19.909" v="1202" actId="478"/>
          <ac:spMkLst>
            <pc:docMk/>
            <pc:sldMk cId="2405197655" sldId="2693"/>
            <ac:spMk id="22" creationId="{CCA92EA2-1A46-5342-A234-B898ADB764D2}"/>
          </ac:spMkLst>
        </pc:spChg>
        <pc:spChg chg="del">
          <ac:chgData name="Jain, Shreyansh" userId="2845c589-ff3c-4dee-bf29-f4bc1a5e1ae1" providerId="ADAL" clId="{24281453-EFF9-4E20-9CC2-652270410453}" dt="2021-12-07T23:01:14.558" v="1199" actId="478"/>
          <ac:spMkLst>
            <pc:docMk/>
            <pc:sldMk cId="2405197655" sldId="2693"/>
            <ac:spMk id="24" creationId="{03EE583B-9314-2B48-8A00-E70572AA92D3}"/>
          </ac:spMkLst>
        </pc:spChg>
        <pc:spChg chg="del">
          <ac:chgData name="Jain, Shreyansh" userId="2845c589-ff3c-4dee-bf29-f4bc1a5e1ae1" providerId="ADAL" clId="{24281453-EFF9-4E20-9CC2-652270410453}" dt="2021-12-07T23:01:14.558" v="1199" actId="478"/>
          <ac:spMkLst>
            <pc:docMk/>
            <pc:sldMk cId="2405197655" sldId="2693"/>
            <ac:spMk id="26" creationId="{6443097D-7EA5-C74D-972E-71FD80A3BD83}"/>
          </ac:spMkLst>
        </pc:spChg>
        <pc:spChg chg="del">
          <ac:chgData name="Jain, Shreyansh" userId="2845c589-ff3c-4dee-bf29-f4bc1a5e1ae1" providerId="ADAL" clId="{24281453-EFF9-4E20-9CC2-652270410453}" dt="2021-12-07T23:01:14.558" v="1199" actId="478"/>
          <ac:spMkLst>
            <pc:docMk/>
            <pc:sldMk cId="2405197655" sldId="2693"/>
            <ac:spMk id="27" creationId="{92A6E34A-CD39-B343-960F-811CEE13076F}"/>
          </ac:spMkLst>
        </pc:spChg>
        <pc:spChg chg="del">
          <ac:chgData name="Jain, Shreyansh" userId="2845c589-ff3c-4dee-bf29-f4bc1a5e1ae1" providerId="ADAL" clId="{24281453-EFF9-4E20-9CC2-652270410453}" dt="2021-12-07T23:01:14.558" v="1199" actId="478"/>
          <ac:spMkLst>
            <pc:docMk/>
            <pc:sldMk cId="2405197655" sldId="2693"/>
            <ac:spMk id="28" creationId="{528D7411-DE27-5F49-96A6-0C91B6BD960C}"/>
          </ac:spMkLst>
        </pc:spChg>
        <pc:spChg chg="del">
          <ac:chgData name="Jain, Shreyansh" userId="2845c589-ff3c-4dee-bf29-f4bc1a5e1ae1" providerId="ADAL" clId="{24281453-EFF9-4E20-9CC2-652270410453}" dt="2021-12-07T23:01:14.558" v="1199" actId="478"/>
          <ac:spMkLst>
            <pc:docMk/>
            <pc:sldMk cId="2405197655" sldId="2693"/>
            <ac:spMk id="29" creationId="{7726E003-FCCE-3043-BA7A-FA2AFA48C829}"/>
          </ac:spMkLst>
        </pc:spChg>
        <pc:spChg chg="mod">
          <ac:chgData name="Jain, Shreyansh" userId="2845c589-ff3c-4dee-bf29-f4bc1a5e1ae1" providerId="ADAL" clId="{24281453-EFF9-4E20-9CC2-652270410453}" dt="2021-12-07T23:01:14.814" v="1200"/>
          <ac:spMkLst>
            <pc:docMk/>
            <pc:sldMk cId="2405197655" sldId="2693"/>
            <ac:spMk id="30" creationId="{1BB225AF-7162-408C-92C1-510C4579563B}"/>
          </ac:spMkLst>
        </pc:spChg>
        <pc:spChg chg="mod">
          <ac:chgData name="Jain, Shreyansh" userId="2845c589-ff3c-4dee-bf29-f4bc1a5e1ae1" providerId="ADAL" clId="{24281453-EFF9-4E20-9CC2-652270410453}" dt="2021-12-07T23:01:14.814" v="1200"/>
          <ac:spMkLst>
            <pc:docMk/>
            <pc:sldMk cId="2405197655" sldId="2693"/>
            <ac:spMk id="32" creationId="{AF4A61F1-916B-4F84-B797-4EF2328FE4DD}"/>
          </ac:spMkLst>
        </pc:spChg>
        <pc:spChg chg="mod">
          <ac:chgData name="Jain, Shreyansh" userId="2845c589-ff3c-4dee-bf29-f4bc1a5e1ae1" providerId="ADAL" clId="{24281453-EFF9-4E20-9CC2-652270410453}" dt="2021-12-07T23:01:14.814" v="1200"/>
          <ac:spMkLst>
            <pc:docMk/>
            <pc:sldMk cId="2405197655" sldId="2693"/>
            <ac:spMk id="35" creationId="{7F15203D-26C1-4710-86A5-341E6B804DA0}"/>
          </ac:spMkLst>
        </pc:spChg>
        <pc:spChg chg="mod">
          <ac:chgData name="Jain, Shreyansh" userId="2845c589-ff3c-4dee-bf29-f4bc1a5e1ae1" providerId="ADAL" clId="{24281453-EFF9-4E20-9CC2-652270410453}" dt="2021-12-07T23:01:14.814" v="1200"/>
          <ac:spMkLst>
            <pc:docMk/>
            <pc:sldMk cId="2405197655" sldId="2693"/>
            <ac:spMk id="36" creationId="{D24C5788-8CAF-4F14-AC99-EA7DB4493DCF}"/>
          </ac:spMkLst>
        </pc:spChg>
        <pc:spChg chg="mod">
          <ac:chgData name="Jain, Shreyansh" userId="2845c589-ff3c-4dee-bf29-f4bc1a5e1ae1" providerId="ADAL" clId="{24281453-EFF9-4E20-9CC2-652270410453}" dt="2021-12-07T23:01:14.814" v="1200"/>
          <ac:spMkLst>
            <pc:docMk/>
            <pc:sldMk cId="2405197655" sldId="2693"/>
            <ac:spMk id="38" creationId="{92B8EC47-2A9A-4B7A-9581-AF2C6060551A}"/>
          </ac:spMkLst>
        </pc:spChg>
        <pc:spChg chg="mod">
          <ac:chgData name="Jain, Shreyansh" userId="2845c589-ff3c-4dee-bf29-f4bc1a5e1ae1" providerId="ADAL" clId="{24281453-EFF9-4E20-9CC2-652270410453}" dt="2021-12-07T23:01:14.814" v="1200"/>
          <ac:spMkLst>
            <pc:docMk/>
            <pc:sldMk cId="2405197655" sldId="2693"/>
            <ac:spMk id="40" creationId="{C0FE1AFB-F6AF-4E02-9DFA-CEFB0F3E7CB4}"/>
          </ac:spMkLst>
        </pc:spChg>
        <pc:spChg chg="mod">
          <ac:chgData name="Jain, Shreyansh" userId="2845c589-ff3c-4dee-bf29-f4bc1a5e1ae1" providerId="ADAL" clId="{24281453-EFF9-4E20-9CC2-652270410453}" dt="2021-12-07T23:01:14.814" v="1200"/>
          <ac:spMkLst>
            <pc:docMk/>
            <pc:sldMk cId="2405197655" sldId="2693"/>
            <ac:spMk id="43" creationId="{06A49F18-A811-4EC9-B7CC-EB68574B0294}"/>
          </ac:spMkLst>
        </pc:spChg>
        <pc:spChg chg="mod">
          <ac:chgData name="Jain, Shreyansh" userId="2845c589-ff3c-4dee-bf29-f4bc1a5e1ae1" providerId="ADAL" clId="{24281453-EFF9-4E20-9CC2-652270410453}" dt="2021-12-07T23:01:14.814" v="1200"/>
          <ac:spMkLst>
            <pc:docMk/>
            <pc:sldMk cId="2405197655" sldId="2693"/>
            <ac:spMk id="44" creationId="{4B29E5BF-AD15-4C5B-A73C-EE7AAE663DFA}"/>
          </ac:spMkLst>
        </pc:spChg>
        <pc:spChg chg="mod">
          <ac:chgData name="Jain, Shreyansh" userId="2845c589-ff3c-4dee-bf29-f4bc1a5e1ae1" providerId="ADAL" clId="{24281453-EFF9-4E20-9CC2-652270410453}" dt="2021-12-07T23:01:14.814" v="1200"/>
          <ac:spMkLst>
            <pc:docMk/>
            <pc:sldMk cId="2405197655" sldId="2693"/>
            <ac:spMk id="46" creationId="{A9196105-13C2-47FE-856F-7D9FBB59A891}"/>
          </ac:spMkLst>
        </pc:spChg>
        <pc:spChg chg="mod">
          <ac:chgData name="Jain, Shreyansh" userId="2845c589-ff3c-4dee-bf29-f4bc1a5e1ae1" providerId="ADAL" clId="{24281453-EFF9-4E20-9CC2-652270410453}" dt="2021-12-07T23:01:14.814" v="1200"/>
          <ac:spMkLst>
            <pc:docMk/>
            <pc:sldMk cId="2405197655" sldId="2693"/>
            <ac:spMk id="48" creationId="{0A5E4235-EBD2-4D5F-ACC8-85F4FCE17375}"/>
          </ac:spMkLst>
        </pc:spChg>
        <pc:spChg chg="mod">
          <ac:chgData name="Jain, Shreyansh" userId="2845c589-ff3c-4dee-bf29-f4bc1a5e1ae1" providerId="ADAL" clId="{24281453-EFF9-4E20-9CC2-652270410453}" dt="2021-12-07T23:01:14.814" v="1200"/>
          <ac:spMkLst>
            <pc:docMk/>
            <pc:sldMk cId="2405197655" sldId="2693"/>
            <ac:spMk id="51" creationId="{FC5738BF-4CE4-493E-8632-22569EC996CC}"/>
          </ac:spMkLst>
        </pc:spChg>
        <pc:spChg chg="mod">
          <ac:chgData name="Jain, Shreyansh" userId="2845c589-ff3c-4dee-bf29-f4bc1a5e1ae1" providerId="ADAL" clId="{24281453-EFF9-4E20-9CC2-652270410453}" dt="2021-12-07T23:01:14.814" v="1200"/>
          <ac:spMkLst>
            <pc:docMk/>
            <pc:sldMk cId="2405197655" sldId="2693"/>
            <ac:spMk id="52" creationId="{AB40DDDB-25D9-466E-A9C7-7050B5622F5C}"/>
          </ac:spMkLst>
        </pc:spChg>
        <pc:spChg chg="mod">
          <ac:chgData name="Jain, Shreyansh" userId="2845c589-ff3c-4dee-bf29-f4bc1a5e1ae1" providerId="ADAL" clId="{24281453-EFF9-4E20-9CC2-652270410453}" dt="2021-12-07T23:01:14.814" v="1200"/>
          <ac:spMkLst>
            <pc:docMk/>
            <pc:sldMk cId="2405197655" sldId="2693"/>
            <ac:spMk id="54" creationId="{E17807AA-4555-4FF4-BF92-8197D355DBFA}"/>
          </ac:spMkLst>
        </pc:spChg>
        <pc:spChg chg="mod">
          <ac:chgData name="Jain, Shreyansh" userId="2845c589-ff3c-4dee-bf29-f4bc1a5e1ae1" providerId="ADAL" clId="{24281453-EFF9-4E20-9CC2-652270410453}" dt="2021-12-07T23:01:14.814" v="1200"/>
          <ac:spMkLst>
            <pc:docMk/>
            <pc:sldMk cId="2405197655" sldId="2693"/>
            <ac:spMk id="56" creationId="{ED7A394F-2B6D-4E6D-8100-CF90FB0023B6}"/>
          </ac:spMkLst>
        </pc:spChg>
        <pc:spChg chg="mod">
          <ac:chgData name="Jain, Shreyansh" userId="2845c589-ff3c-4dee-bf29-f4bc1a5e1ae1" providerId="ADAL" clId="{24281453-EFF9-4E20-9CC2-652270410453}" dt="2021-12-07T23:01:14.814" v="1200"/>
          <ac:spMkLst>
            <pc:docMk/>
            <pc:sldMk cId="2405197655" sldId="2693"/>
            <ac:spMk id="59" creationId="{C39F25DD-47A8-4B98-968B-77DFE59B9BDF}"/>
          </ac:spMkLst>
        </pc:spChg>
        <pc:spChg chg="mod">
          <ac:chgData name="Jain, Shreyansh" userId="2845c589-ff3c-4dee-bf29-f4bc1a5e1ae1" providerId="ADAL" clId="{24281453-EFF9-4E20-9CC2-652270410453}" dt="2021-12-07T23:01:14.814" v="1200"/>
          <ac:spMkLst>
            <pc:docMk/>
            <pc:sldMk cId="2405197655" sldId="2693"/>
            <ac:spMk id="60" creationId="{2E332FE8-E247-4CB9-8B47-0D9CB51EF3EF}"/>
          </ac:spMkLst>
        </pc:spChg>
        <pc:spChg chg="mod">
          <ac:chgData name="Jain, Shreyansh" userId="2845c589-ff3c-4dee-bf29-f4bc1a5e1ae1" providerId="ADAL" clId="{24281453-EFF9-4E20-9CC2-652270410453}" dt="2021-12-07T23:01:14.814" v="1200"/>
          <ac:spMkLst>
            <pc:docMk/>
            <pc:sldMk cId="2405197655" sldId="2693"/>
            <ac:spMk id="62" creationId="{C6B0DC98-2FA1-46A4-8929-7DAD2F209130}"/>
          </ac:spMkLst>
        </pc:spChg>
        <pc:spChg chg="mod">
          <ac:chgData name="Jain, Shreyansh" userId="2845c589-ff3c-4dee-bf29-f4bc1a5e1ae1" providerId="ADAL" clId="{24281453-EFF9-4E20-9CC2-652270410453}" dt="2021-12-07T23:01:14.814" v="1200"/>
          <ac:spMkLst>
            <pc:docMk/>
            <pc:sldMk cId="2405197655" sldId="2693"/>
            <ac:spMk id="64" creationId="{43614FD7-7363-46CF-AF1B-B9C5CF5BBD95}"/>
          </ac:spMkLst>
        </pc:spChg>
        <pc:spChg chg="mod">
          <ac:chgData name="Jain, Shreyansh" userId="2845c589-ff3c-4dee-bf29-f4bc1a5e1ae1" providerId="ADAL" clId="{24281453-EFF9-4E20-9CC2-652270410453}" dt="2021-12-07T23:01:14.814" v="1200"/>
          <ac:spMkLst>
            <pc:docMk/>
            <pc:sldMk cId="2405197655" sldId="2693"/>
            <ac:spMk id="67" creationId="{90DF9539-0F66-4CEB-84BC-B87E40F6E897}"/>
          </ac:spMkLst>
        </pc:spChg>
        <pc:spChg chg="mod">
          <ac:chgData name="Jain, Shreyansh" userId="2845c589-ff3c-4dee-bf29-f4bc1a5e1ae1" providerId="ADAL" clId="{24281453-EFF9-4E20-9CC2-652270410453}" dt="2021-12-07T23:01:14.814" v="1200"/>
          <ac:spMkLst>
            <pc:docMk/>
            <pc:sldMk cId="2405197655" sldId="2693"/>
            <ac:spMk id="68" creationId="{EED09B3D-00E6-4E31-9526-B8C438A69B32}"/>
          </ac:spMkLst>
        </pc:spChg>
        <pc:spChg chg="mod">
          <ac:chgData name="Jain, Shreyansh" userId="2845c589-ff3c-4dee-bf29-f4bc1a5e1ae1" providerId="ADAL" clId="{24281453-EFF9-4E20-9CC2-652270410453}" dt="2021-12-08T02:50:09.086" v="3637"/>
          <ac:spMkLst>
            <pc:docMk/>
            <pc:sldMk cId="2405197655" sldId="2693"/>
            <ac:spMk id="76" creationId="{8221D098-25F3-4B10-8F45-0EDB7170E137}"/>
          </ac:spMkLst>
        </pc:spChg>
        <pc:spChg chg="mod">
          <ac:chgData name="Jain, Shreyansh" userId="2845c589-ff3c-4dee-bf29-f4bc1a5e1ae1" providerId="ADAL" clId="{24281453-EFF9-4E20-9CC2-652270410453}" dt="2021-12-07T23:01:22.707" v="1204"/>
          <ac:spMkLst>
            <pc:docMk/>
            <pc:sldMk cId="2405197655" sldId="2693"/>
            <ac:spMk id="78" creationId="{3A1BEB3A-D680-4C1E-8BDC-F0B102F1D672}"/>
          </ac:spMkLst>
        </pc:spChg>
        <pc:spChg chg="mod">
          <ac:chgData name="Jain, Shreyansh" userId="2845c589-ff3c-4dee-bf29-f4bc1a5e1ae1" providerId="ADAL" clId="{24281453-EFF9-4E20-9CC2-652270410453}" dt="2021-12-07T23:01:22.707" v="1204"/>
          <ac:spMkLst>
            <pc:docMk/>
            <pc:sldMk cId="2405197655" sldId="2693"/>
            <ac:spMk id="81" creationId="{48CB66B4-4F5A-44AC-9816-4C3E1FD2FCE5}"/>
          </ac:spMkLst>
        </pc:spChg>
        <pc:spChg chg="mod">
          <ac:chgData name="Jain, Shreyansh" userId="2845c589-ff3c-4dee-bf29-f4bc1a5e1ae1" providerId="ADAL" clId="{24281453-EFF9-4E20-9CC2-652270410453}" dt="2021-12-07T23:01:22.707" v="1204"/>
          <ac:spMkLst>
            <pc:docMk/>
            <pc:sldMk cId="2405197655" sldId="2693"/>
            <ac:spMk id="82" creationId="{858E7449-8FF4-43DD-8BA7-557545AA97F8}"/>
          </ac:spMkLst>
        </pc:spChg>
        <pc:spChg chg="mod">
          <ac:chgData name="Jain, Shreyansh" userId="2845c589-ff3c-4dee-bf29-f4bc1a5e1ae1" providerId="ADAL" clId="{24281453-EFF9-4E20-9CC2-652270410453}" dt="2021-12-08T00:07:46.493" v="1840" actId="20577"/>
          <ac:spMkLst>
            <pc:docMk/>
            <pc:sldMk cId="2405197655" sldId="2693"/>
            <ac:spMk id="84" creationId="{EDE7D18A-D1FD-47C3-B5F4-F3D783CBD7A5}"/>
          </ac:spMkLst>
        </pc:spChg>
        <pc:spChg chg="mod">
          <ac:chgData name="Jain, Shreyansh" userId="2845c589-ff3c-4dee-bf29-f4bc1a5e1ae1" providerId="ADAL" clId="{24281453-EFF9-4E20-9CC2-652270410453}" dt="2021-12-07T23:01:22.707" v="1204"/>
          <ac:spMkLst>
            <pc:docMk/>
            <pc:sldMk cId="2405197655" sldId="2693"/>
            <ac:spMk id="86" creationId="{ED23B468-8B41-4070-8599-173A8FF53852}"/>
          </ac:spMkLst>
        </pc:spChg>
        <pc:spChg chg="mod">
          <ac:chgData name="Jain, Shreyansh" userId="2845c589-ff3c-4dee-bf29-f4bc1a5e1ae1" providerId="ADAL" clId="{24281453-EFF9-4E20-9CC2-652270410453}" dt="2021-12-07T23:01:22.707" v="1204"/>
          <ac:spMkLst>
            <pc:docMk/>
            <pc:sldMk cId="2405197655" sldId="2693"/>
            <ac:spMk id="89" creationId="{241D3E67-624E-47AA-9A75-D8D74C4D3492}"/>
          </ac:spMkLst>
        </pc:spChg>
        <pc:spChg chg="mod">
          <ac:chgData name="Jain, Shreyansh" userId="2845c589-ff3c-4dee-bf29-f4bc1a5e1ae1" providerId="ADAL" clId="{24281453-EFF9-4E20-9CC2-652270410453}" dt="2021-12-07T23:01:22.707" v="1204"/>
          <ac:spMkLst>
            <pc:docMk/>
            <pc:sldMk cId="2405197655" sldId="2693"/>
            <ac:spMk id="90" creationId="{13CE873B-08B9-4323-9ED4-BABDE5C8BE22}"/>
          </ac:spMkLst>
        </pc:spChg>
        <pc:spChg chg="mod">
          <ac:chgData name="Jain, Shreyansh" userId="2845c589-ff3c-4dee-bf29-f4bc1a5e1ae1" providerId="ADAL" clId="{24281453-EFF9-4E20-9CC2-652270410453}" dt="2021-12-08T02:00:23.204" v="2829" actId="20577"/>
          <ac:spMkLst>
            <pc:docMk/>
            <pc:sldMk cId="2405197655" sldId="2693"/>
            <ac:spMk id="92" creationId="{ABD62496-B196-4D66-A153-B970D14790D8}"/>
          </ac:spMkLst>
        </pc:spChg>
        <pc:spChg chg="mod">
          <ac:chgData name="Jain, Shreyansh" userId="2845c589-ff3c-4dee-bf29-f4bc1a5e1ae1" providerId="ADAL" clId="{24281453-EFF9-4E20-9CC2-652270410453}" dt="2021-12-07T23:01:22.707" v="1204"/>
          <ac:spMkLst>
            <pc:docMk/>
            <pc:sldMk cId="2405197655" sldId="2693"/>
            <ac:spMk id="94" creationId="{43613D5E-3EE9-40DF-A7AB-58528DA88A3B}"/>
          </ac:spMkLst>
        </pc:spChg>
        <pc:spChg chg="mod">
          <ac:chgData name="Jain, Shreyansh" userId="2845c589-ff3c-4dee-bf29-f4bc1a5e1ae1" providerId="ADAL" clId="{24281453-EFF9-4E20-9CC2-652270410453}" dt="2021-12-07T23:01:22.707" v="1204"/>
          <ac:spMkLst>
            <pc:docMk/>
            <pc:sldMk cId="2405197655" sldId="2693"/>
            <ac:spMk id="97" creationId="{6392E1AE-CBEA-4930-B705-DA95029DE652}"/>
          </ac:spMkLst>
        </pc:spChg>
        <pc:spChg chg="mod">
          <ac:chgData name="Jain, Shreyansh" userId="2845c589-ff3c-4dee-bf29-f4bc1a5e1ae1" providerId="ADAL" clId="{24281453-EFF9-4E20-9CC2-652270410453}" dt="2021-12-07T23:01:22.707" v="1204"/>
          <ac:spMkLst>
            <pc:docMk/>
            <pc:sldMk cId="2405197655" sldId="2693"/>
            <ac:spMk id="98" creationId="{4CAD78C7-054B-4E50-9D31-8ED29EF7A0E2}"/>
          </ac:spMkLst>
        </pc:spChg>
        <pc:spChg chg="mod">
          <ac:chgData name="Jain, Shreyansh" userId="2845c589-ff3c-4dee-bf29-f4bc1a5e1ae1" providerId="ADAL" clId="{24281453-EFF9-4E20-9CC2-652270410453}" dt="2021-12-08T02:00:10.479" v="2819" actId="20577"/>
          <ac:spMkLst>
            <pc:docMk/>
            <pc:sldMk cId="2405197655" sldId="2693"/>
            <ac:spMk id="100" creationId="{79536B36-7462-4249-8AE9-5CE3E674EA8B}"/>
          </ac:spMkLst>
        </pc:spChg>
        <pc:spChg chg="mod">
          <ac:chgData name="Jain, Shreyansh" userId="2845c589-ff3c-4dee-bf29-f4bc1a5e1ae1" providerId="ADAL" clId="{24281453-EFF9-4E20-9CC2-652270410453}" dt="2021-12-07T23:01:22.707" v="1204"/>
          <ac:spMkLst>
            <pc:docMk/>
            <pc:sldMk cId="2405197655" sldId="2693"/>
            <ac:spMk id="102" creationId="{F2DA1674-0DE3-47CB-9B98-14C1BD5DA72C}"/>
          </ac:spMkLst>
        </pc:spChg>
        <pc:spChg chg="mod">
          <ac:chgData name="Jain, Shreyansh" userId="2845c589-ff3c-4dee-bf29-f4bc1a5e1ae1" providerId="ADAL" clId="{24281453-EFF9-4E20-9CC2-652270410453}" dt="2021-12-07T23:01:22.707" v="1204"/>
          <ac:spMkLst>
            <pc:docMk/>
            <pc:sldMk cId="2405197655" sldId="2693"/>
            <ac:spMk id="105" creationId="{7F0DCE25-5627-4B7A-9EE2-DC162539A3A7}"/>
          </ac:spMkLst>
        </pc:spChg>
        <pc:spChg chg="mod">
          <ac:chgData name="Jain, Shreyansh" userId="2845c589-ff3c-4dee-bf29-f4bc1a5e1ae1" providerId="ADAL" clId="{24281453-EFF9-4E20-9CC2-652270410453}" dt="2021-12-07T23:01:22.707" v="1204"/>
          <ac:spMkLst>
            <pc:docMk/>
            <pc:sldMk cId="2405197655" sldId="2693"/>
            <ac:spMk id="106" creationId="{A4E5511A-87EE-4039-A591-67DAA14C7DB0}"/>
          </ac:spMkLst>
        </pc:spChg>
        <pc:spChg chg="mod">
          <ac:chgData name="Jain, Shreyansh" userId="2845c589-ff3c-4dee-bf29-f4bc1a5e1ae1" providerId="ADAL" clId="{24281453-EFF9-4E20-9CC2-652270410453}" dt="2021-12-07T23:01:38.094" v="1207" actId="2711"/>
          <ac:spMkLst>
            <pc:docMk/>
            <pc:sldMk cId="2405197655" sldId="2693"/>
            <ac:spMk id="108" creationId="{74BB8ED7-9AAF-4922-8121-259ADE0B73C2}"/>
          </ac:spMkLst>
        </pc:spChg>
        <pc:spChg chg="mod">
          <ac:chgData name="Jain, Shreyansh" userId="2845c589-ff3c-4dee-bf29-f4bc1a5e1ae1" providerId="ADAL" clId="{24281453-EFF9-4E20-9CC2-652270410453}" dt="2021-12-07T23:01:22.707" v="1204"/>
          <ac:spMkLst>
            <pc:docMk/>
            <pc:sldMk cId="2405197655" sldId="2693"/>
            <ac:spMk id="110" creationId="{76BAC342-A2EA-44E7-89C0-CF8F32EE6DE7}"/>
          </ac:spMkLst>
        </pc:spChg>
        <pc:spChg chg="mod">
          <ac:chgData name="Jain, Shreyansh" userId="2845c589-ff3c-4dee-bf29-f4bc1a5e1ae1" providerId="ADAL" clId="{24281453-EFF9-4E20-9CC2-652270410453}" dt="2021-12-07T23:01:22.707" v="1204"/>
          <ac:spMkLst>
            <pc:docMk/>
            <pc:sldMk cId="2405197655" sldId="2693"/>
            <ac:spMk id="113" creationId="{96402430-C45C-42B0-A37F-4EED9E145921}"/>
          </ac:spMkLst>
        </pc:spChg>
        <pc:spChg chg="mod">
          <ac:chgData name="Jain, Shreyansh" userId="2845c589-ff3c-4dee-bf29-f4bc1a5e1ae1" providerId="ADAL" clId="{24281453-EFF9-4E20-9CC2-652270410453}" dt="2021-12-07T23:01:22.707" v="1204"/>
          <ac:spMkLst>
            <pc:docMk/>
            <pc:sldMk cId="2405197655" sldId="2693"/>
            <ac:spMk id="114" creationId="{BF453537-DDA0-453B-9548-30A3F4D24A71}"/>
          </ac:spMkLst>
        </pc:spChg>
        <pc:grpChg chg="add del mod">
          <ac:chgData name="Jain, Shreyansh" userId="2845c589-ff3c-4dee-bf29-f4bc1a5e1ae1" providerId="ADAL" clId="{24281453-EFF9-4E20-9CC2-652270410453}" dt="2021-12-07T23:01:15.618" v="1201"/>
          <ac:grpSpMkLst>
            <pc:docMk/>
            <pc:sldMk cId="2405197655" sldId="2693"/>
            <ac:grpSpMk id="16" creationId="{2F77AB04-A768-48DB-89E4-3BC84C7ECE1C}"/>
          </ac:grpSpMkLst>
        </pc:grpChg>
        <pc:grpChg chg="mod">
          <ac:chgData name="Jain, Shreyansh" userId="2845c589-ff3c-4dee-bf29-f4bc1a5e1ae1" providerId="ADAL" clId="{24281453-EFF9-4E20-9CC2-652270410453}" dt="2021-12-07T23:01:14.814" v="1200"/>
          <ac:grpSpMkLst>
            <pc:docMk/>
            <pc:sldMk cId="2405197655" sldId="2693"/>
            <ac:grpSpMk id="17" creationId="{DE67A864-CCB9-4191-86DD-1738E1F7156F}"/>
          </ac:grpSpMkLst>
        </pc:grpChg>
        <pc:grpChg chg="mod">
          <ac:chgData name="Jain, Shreyansh" userId="2845c589-ff3c-4dee-bf29-f4bc1a5e1ae1" providerId="ADAL" clId="{24281453-EFF9-4E20-9CC2-652270410453}" dt="2021-12-07T23:01:14.814" v="1200"/>
          <ac:grpSpMkLst>
            <pc:docMk/>
            <pc:sldMk cId="2405197655" sldId="2693"/>
            <ac:grpSpMk id="18" creationId="{24B812CD-4EF9-4380-BA92-2DE2E5877BFE}"/>
          </ac:grpSpMkLst>
        </pc:grpChg>
        <pc:grpChg chg="mod">
          <ac:chgData name="Jain, Shreyansh" userId="2845c589-ff3c-4dee-bf29-f4bc1a5e1ae1" providerId="ADAL" clId="{24281453-EFF9-4E20-9CC2-652270410453}" dt="2021-12-07T23:01:14.814" v="1200"/>
          <ac:grpSpMkLst>
            <pc:docMk/>
            <pc:sldMk cId="2405197655" sldId="2693"/>
            <ac:grpSpMk id="19" creationId="{98EB5B3A-C0CE-4A5E-8CF3-DB761B3A8FE3}"/>
          </ac:grpSpMkLst>
        </pc:grpChg>
        <pc:grpChg chg="mod">
          <ac:chgData name="Jain, Shreyansh" userId="2845c589-ff3c-4dee-bf29-f4bc1a5e1ae1" providerId="ADAL" clId="{24281453-EFF9-4E20-9CC2-652270410453}" dt="2021-12-07T23:01:14.814" v="1200"/>
          <ac:grpSpMkLst>
            <pc:docMk/>
            <pc:sldMk cId="2405197655" sldId="2693"/>
            <ac:grpSpMk id="23" creationId="{7ED2A1C7-7B00-4337-B164-F61C03201315}"/>
          </ac:grpSpMkLst>
        </pc:grpChg>
        <pc:grpChg chg="mod">
          <ac:chgData name="Jain, Shreyansh" userId="2845c589-ff3c-4dee-bf29-f4bc1a5e1ae1" providerId="ADAL" clId="{24281453-EFF9-4E20-9CC2-652270410453}" dt="2021-12-07T23:01:14.814" v="1200"/>
          <ac:grpSpMkLst>
            <pc:docMk/>
            <pc:sldMk cId="2405197655" sldId="2693"/>
            <ac:grpSpMk id="25" creationId="{81D12F86-D88D-406E-904E-72E2DFE51FDD}"/>
          </ac:grpSpMkLst>
        </pc:grpChg>
        <pc:grpChg chg="mod">
          <ac:chgData name="Jain, Shreyansh" userId="2845c589-ff3c-4dee-bf29-f4bc1a5e1ae1" providerId="ADAL" clId="{24281453-EFF9-4E20-9CC2-652270410453}" dt="2021-12-07T23:01:14.814" v="1200"/>
          <ac:grpSpMkLst>
            <pc:docMk/>
            <pc:sldMk cId="2405197655" sldId="2693"/>
            <ac:grpSpMk id="31" creationId="{2E1A0DC1-1395-4650-B6E8-11FBCBDE62BC}"/>
          </ac:grpSpMkLst>
        </pc:grpChg>
        <pc:grpChg chg="mod">
          <ac:chgData name="Jain, Shreyansh" userId="2845c589-ff3c-4dee-bf29-f4bc1a5e1ae1" providerId="ADAL" clId="{24281453-EFF9-4E20-9CC2-652270410453}" dt="2021-12-07T23:01:14.814" v="1200"/>
          <ac:grpSpMkLst>
            <pc:docMk/>
            <pc:sldMk cId="2405197655" sldId="2693"/>
            <ac:grpSpMk id="33" creationId="{6FAA5B9D-3167-425A-B7E6-15EEB6FBE2C0}"/>
          </ac:grpSpMkLst>
        </pc:grpChg>
        <pc:grpChg chg="mod">
          <ac:chgData name="Jain, Shreyansh" userId="2845c589-ff3c-4dee-bf29-f4bc1a5e1ae1" providerId="ADAL" clId="{24281453-EFF9-4E20-9CC2-652270410453}" dt="2021-12-07T23:01:14.814" v="1200"/>
          <ac:grpSpMkLst>
            <pc:docMk/>
            <pc:sldMk cId="2405197655" sldId="2693"/>
            <ac:grpSpMk id="39" creationId="{869B194D-9497-4CB0-B7AB-DA29920A136E}"/>
          </ac:grpSpMkLst>
        </pc:grpChg>
        <pc:grpChg chg="mod">
          <ac:chgData name="Jain, Shreyansh" userId="2845c589-ff3c-4dee-bf29-f4bc1a5e1ae1" providerId="ADAL" clId="{24281453-EFF9-4E20-9CC2-652270410453}" dt="2021-12-07T23:01:14.814" v="1200"/>
          <ac:grpSpMkLst>
            <pc:docMk/>
            <pc:sldMk cId="2405197655" sldId="2693"/>
            <ac:grpSpMk id="41" creationId="{75693F43-199B-4861-AD8C-3740DE44242A}"/>
          </ac:grpSpMkLst>
        </pc:grpChg>
        <pc:grpChg chg="mod">
          <ac:chgData name="Jain, Shreyansh" userId="2845c589-ff3c-4dee-bf29-f4bc1a5e1ae1" providerId="ADAL" clId="{24281453-EFF9-4E20-9CC2-652270410453}" dt="2021-12-07T23:01:14.814" v="1200"/>
          <ac:grpSpMkLst>
            <pc:docMk/>
            <pc:sldMk cId="2405197655" sldId="2693"/>
            <ac:grpSpMk id="47" creationId="{274CBD30-A7C6-41AA-BF58-FF3F56DCD91D}"/>
          </ac:grpSpMkLst>
        </pc:grpChg>
        <pc:grpChg chg="mod">
          <ac:chgData name="Jain, Shreyansh" userId="2845c589-ff3c-4dee-bf29-f4bc1a5e1ae1" providerId="ADAL" clId="{24281453-EFF9-4E20-9CC2-652270410453}" dt="2021-12-07T23:01:14.814" v="1200"/>
          <ac:grpSpMkLst>
            <pc:docMk/>
            <pc:sldMk cId="2405197655" sldId="2693"/>
            <ac:grpSpMk id="49" creationId="{6B5EE80C-C313-4496-9D6E-A30836522D6D}"/>
          </ac:grpSpMkLst>
        </pc:grpChg>
        <pc:grpChg chg="mod">
          <ac:chgData name="Jain, Shreyansh" userId="2845c589-ff3c-4dee-bf29-f4bc1a5e1ae1" providerId="ADAL" clId="{24281453-EFF9-4E20-9CC2-652270410453}" dt="2021-12-07T23:01:14.814" v="1200"/>
          <ac:grpSpMkLst>
            <pc:docMk/>
            <pc:sldMk cId="2405197655" sldId="2693"/>
            <ac:grpSpMk id="55" creationId="{32EEB9DA-F7F5-4715-9E2B-4CA080825C87}"/>
          </ac:grpSpMkLst>
        </pc:grpChg>
        <pc:grpChg chg="mod">
          <ac:chgData name="Jain, Shreyansh" userId="2845c589-ff3c-4dee-bf29-f4bc1a5e1ae1" providerId="ADAL" clId="{24281453-EFF9-4E20-9CC2-652270410453}" dt="2021-12-07T23:01:14.814" v="1200"/>
          <ac:grpSpMkLst>
            <pc:docMk/>
            <pc:sldMk cId="2405197655" sldId="2693"/>
            <ac:grpSpMk id="57" creationId="{E3C9EB11-7449-40F2-A779-2B9CACECA5DD}"/>
          </ac:grpSpMkLst>
        </pc:grpChg>
        <pc:grpChg chg="mod">
          <ac:chgData name="Jain, Shreyansh" userId="2845c589-ff3c-4dee-bf29-f4bc1a5e1ae1" providerId="ADAL" clId="{24281453-EFF9-4E20-9CC2-652270410453}" dt="2021-12-07T23:01:14.814" v="1200"/>
          <ac:grpSpMkLst>
            <pc:docMk/>
            <pc:sldMk cId="2405197655" sldId="2693"/>
            <ac:grpSpMk id="63" creationId="{609A61BF-55AE-4604-9A27-0A496B4BC6B9}"/>
          </ac:grpSpMkLst>
        </pc:grpChg>
        <pc:grpChg chg="mod">
          <ac:chgData name="Jain, Shreyansh" userId="2845c589-ff3c-4dee-bf29-f4bc1a5e1ae1" providerId="ADAL" clId="{24281453-EFF9-4E20-9CC2-652270410453}" dt="2021-12-07T23:01:14.814" v="1200"/>
          <ac:grpSpMkLst>
            <pc:docMk/>
            <pc:sldMk cId="2405197655" sldId="2693"/>
            <ac:grpSpMk id="65" creationId="{6F3C1B0C-D71F-422A-A714-294560BD7C60}"/>
          </ac:grpSpMkLst>
        </pc:grpChg>
        <pc:grpChg chg="add mod">
          <ac:chgData name="Jain, Shreyansh" userId="2845c589-ff3c-4dee-bf29-f4bc1a5e1ae1" providerId="ADAL" clId="{24281453-EFF9-4E20-9CC2-652270410453}" dt="2021-12-07T23:01:22.707" v="1204"/>
          <ac:grpSpMkLst>
            <pc:docMk/>
            <pc:sldMk cId="2405197655" sldId="2693"/>
            <ac:grpSpMk id="70" creationId="{FF0B019B-A393-4CE8-9981-57959C3DF684}"/>
          </ac:grpSpMkLst>
        </pc:grpChg>
        <pc:grpChg chg="mod">
          <ac:chgData name="Jain, Shreyansh" userId="2845c589-ff3c-4dee-bf29-f4bc1a5e1ae1" providerId="ADAL" clId="{24281453-EFF9-4E20-9CC2-652270410453}" dt="2021-12-07T23:01:22.707" v="1204"/>
          <ac:grpSpMkLst>
            <pc:docMk/>
            <pc:sldMk cId="2405197655" sldId="2693"/>
            <ac:grpSpMk id="71" creationId="{AD830C32-B0F7-4F27-83E7-A90303EECA39}"/>
          </ac:grpSpMkLst>
        </pc:grpChg>
        <pc:grpChg chg="mod">
          <ac:chgData name="Jain, Shreyansh" userId="2845c589-ff3c-4dee-bf29-f4bc1a5e1ae1" providerId="ADAL" clId="{24281453-EFF9-4E20-9CC2-652270410453}" dt="2021-12-07T23:01:22.707" v="1204"/>
          <ac:grpSpMkLst>
            <pc:docMk/>
            <pc:sldMk cId="2405197655" sldId="2693"/>
            <ac:grpSpMk id="72" creationId="{85945068-56C1-4E96-A97D-6366929BAA09}"/>
          </ac:grpSpMkLst>
        </pc:grpChg>
        <pc:grpChg chg="mod">
          <ac:chgData name="Jain, Shreyansh" userId="2845c589-ff3c-4dee-bf29-f4bc1a5e1ae1" providerId="ADAL" clId="{24281453-EFF9-4E20-9CC2-652270410453}" dt="2021-12-07T23:01:22.707" v="1204"/>
          <ac:grpSpMkLst>
            <pc:docMk/>
            <pc:sldMk cId="2405197655" sldId="2693"/>
            <ac:grpSpMk id="73" creationId="{E0F27212-3B53-44FD-A27C-0EF111EFFB96}"/>
          </ac:grpSpMkLst>
        </pc:grpChg>
        <pc:grpChg chg="mod">
          <ac:chgData name="Jain, Shreyansh" userId="2845c589-ff3c-4dee-bf29-f4bc1a5e1ae1" providerId="ADAL" clId="{24281453-EFF9-4E20-9CC2-652270410453}" dt="2021-12-07T23:01:22.707" v="1204"/>
          <ac:grpSpMkLst>
            <pc:docMk/>
            <pc:sldMk cId="2405197655" sldId="2693"/>
            <ac:grpSpMk id="74" creationId="{BE866BE2-19B8-4626-8759-41F751525349}"/>
          </ac:grpSpMkLst>
        </pc:grpChg>
        <pc:grpChg chg="mod">
          <ac:chgData name="Jain, Shreyansh" userId="2845c589-ff3c-4dee-bf29-f4bc1a5e1ae1" providerId="ADAL" clId="{24281453-EFF9-4E20-9CC2-652270410453}" dt="2021-12-07T23:01:22.707" v="1204"/>
          <ac:grpSpMkLst>
            <pc:docMk/>
            <pc:sldMk cId="2405197655" sldId="2693"/>
            <ac:grpSpMk id="75" creationId="{CD5A4316-C8F5-4707-A332-31D67ECCBC4C}"/>
          </ac:grpSpMkLst>
        </pc:grpChg>
        <pc:grpChg chg="mod">
          <ac:chgData name="Jain, Shreyansh" userId="2845c589-ff3c-4dee-bf29-f4bc1a5e1ae1" providerId="ADAL" clId="{24281453-EFF9-4E20-9CC2-652270410453}" dt="2021-12-07T23:01:22.707" v="1204"/>
          <ac:grpSpMkLst>
            <pc:docMk/>
            <pc:sldMk cId="2405197655" sldId="2693"/>
            <ac:grpSpMk id="77" creationId="{0D5F81B0-6A6E-494D-B88C-0826742D863C}"/>
          </ac:grpSpMkLst>
        </pc:grpChg>
        <pc:grpChg chg="mod">
          <ac:chgData name="Jain, Shreyansh" userId="2845c589-ff3c-4dee-bf29-f4bc1a5e1ae1" providerId="ADAL" clId="{24281453-EFF9-4E20-9CC2-652270410453}" dt="2021-12-07T23:01:22.707" v="1204"/>
          <ac:grpSpMkLst>
            <pc:docMk/>
            <pc:sldMk cId="2405197655" sldId="2693"/>
            <ac:grpSpMk id="79" creationId="{F56B0274-7C0E-42B4-8E95-8B82EB334D0B}"/>
          </ac:grpSpMkLst>
        </pc:grpChg>
        <pc:grpChg chg="mod">
          <ac:chgData name="Jain, Shreyansh" userId="2845c589-ff3c-4dee-bf29-f4bc1a5e1ae1" providerId="ADAL" clId="{24281453-EFF9-4E20-9CC2-652270410453}" dt="2021-12-07T23:01:22.707" v="1204"/>
          <ac:grpSpMkLst>
            <pc:docMk/>
            <pc:sldMk cId="2405197655" sldId="2693"/>
            <ac:grpSpMk id="85" creationId="{DB6F7066-785D-49C3-9990-AC257CDF5C0C}"/>
          </ac:grpSpMkLst>
        </pc:grpChg>
        <pc:grpChg chg="mod">
          <ac:chgData name="Jain, Shreyansh" userId="2845c589-ff3c-4dee-bf29-f4bc1a5e1ae1" providerId="ADAL" clId="{24281453-EFF9-4E20-9CC2-652270410453}" dt="2021-12-07T23:01:22.707" v="1204"/>
          <ac:grpSpMkLst>
            <pc:docMk/>
            <pc:sldMk cId="2405197655" sldId="2693"/>
            <ac:grpSpMk id="87" creationId="{B434878B-79FE-43A7-9800-7A9C875407DE}"/>
          </ac:grpSpMkLst>
        </pc:grpChg>
        <pc:grpChg chg="mod">
          <ac:chgData name="Jain, Shreyansh" userId="2845c589-ff3c-4dee-bf29-f4bc1a5e1ae1" providerId="ADAL" clId="{24281453-EFF9-4E20-9CC2-652270410453}" dt="2021-12-07T23:01:22.707" v="1204"/>
          <ac:grpSpMkLst>
            <pc:docMk/>
            <pc:sldMk cId="2405197655" sldId="2693"/>
            <ac:grpSpMk id="93" creationId="{7F530AE8-CE1D-4CA0-8058-C2A568EF027C}"/>
          </ac:grpSpMkLst>
        </pc:grpChg>
        <pc:grpChg chg="mod">
          <ac:chgData name="Jain, Shreyansh" userId="2845c589-ff3c-4dee-bf29-f4bc1a5e1ae1" providerId="ADAL" clId="{24281453-EFF9-4E20-9CC2-652270410453}" dt="2021-12-07T23:01:22.707" v="1204"/>
          <ac:grpSpMkLst>
            <pc:docMk/>
            <pc:sldMk cId="2405197655" sldId="2693"/>
            <ac:grpSpMk id="95" creationId="{3841BD41-8265-4156-A81A-EB5C46A801C4}"/>
          </ac:grpSpMkLst>
        </pc:grpChg>
        <pc:grpChg chg="mod">
          <ac:chgData name="Jain, Shreyansh" userId="2845c589-ff3c-4dee-bf29-f4bc1a5e1ae1" providerId="ADAL" clId="{24281453-EFF9-4E20-9CC2-652270410453}" dt="2021-12-07T23:01:22.707" v="1204"/>
          <ac:grpSpMkLst>
            <pc:docMk/>
            <pc:sldMk cId="2405197655" sldId="2693"/>
            <ac:grpSpMk id="101" creationId="{DA263C69-CCC6-40FF-84A6-FEAA23E334A8}"/>
          </ac:grpSpMkLst>
        </pc:grpChg>
        <pc:grpChg chg="mod">
          <ac:chgData name="Jain, Shreyansh" userId="2845c589-ff3c-4dee-bf29-f4bc1a5e1ae1" providerId="ADAL" clId="{24281453-EFF9-4E20-9CC2-652270410453}" dt="2021-12-07T23:01:22.707" v="1204"/>
          <ac:grpSpMkLst>
            <pc:docMk/>
            <pc:sldMk cId="2405197655" sldId="2693"/>
            <ac:grpSpMk id="103" creationId="{55071CDD-7C8B-41F4-A573-0D4AFE2982C0}"/>
          </ac:grpSpMkLst>
        </pc:grpChg>
        <pc:grpChg chg="mod">
          <ac:chgData name="Jain, Shreyansh" userId="2845c589-ff3c-4dee-bf29-f4bc1a5e1ae1" providerId="ADAL" clId="{24281453-EFF9-4E20-9CC2-652270410453}" dt="2021-12-07T23:01:22.707" v="1204"/>
          <ac:grpSpMkLst>
            <pc:docMk/>
            <pc:sldMk cId="2405197655" sldId="2693"/>
            <ac:grpSpMk id="109" creationId="{0082D9BF-712B-4FAE-85DA-57F73CD4BA76}"/>
          </ac:grpSpMkLst>
        </pc:grpChg>
        <pc:grpChg chg="mod">
          <ac:chgData name="Jain, Shreyansh" userId="2845c589-ff3c-4dee-bf29-f4bc1a5e1ae1" providerId="ADAL" clId="{24281453-EFF9-4E20-9CC2-652270410453}" dt="2021-12-07T23:01:22.707" v="1204"/>
          <ac:grpSpMkLst>
            <pc:docMk/>
            <pc:sldMk cId="2405197655" sldId="2693"/>
            <ac:grpSpMk id="111" creationId="{43686A55-547D-489E-A25B-D1A2242CCB7E}"/>
          </ac:grpSpMkLst>
        </pc:grpChg>
        <pc:cxnChg chg="mod">
          <ac:chgData name="Jain, Shreyansh" userId="2845c589-ff3c-4dee-bf29-f4bc1a5e1ae1" providerId="ADAL" clId="{24281453-EFF9-4E20-9CC2-652270410453}" dt="2021-12-07T23:01:14.814" v="1200"/>
          <ac:cxnSpMkLst>
            <pc:docMk/>
            <pc:sldMk cId="2405197655" sldId="2693"/>
            <ac:cxnSpMk id="34" creationId="{6F5300E4-A7D8-4E54-AD18-E2D6F42AA444}"/>
          </ac:cxnSpMkLst>
        </pc:cxnChg>
        <pc:cxnChg chg="mod">
          <ac:chgData name="Jain, Shreyansh" userId="2845c589-ff3c-4dee-bf29-f4bc1a5e1ae1" providerId="ADAL" clId="{24281453-EFF9-4E20-9CC2-652270410453}" dt="2021-12-07T23:01:14.814" v="1200"/>
          <ac:cxnSpMkLst>
            <pc:docMk/>
            <pc:sldMk cId="2405197655" sldId="2693"/>
            <ac:cxnSpMk id="37" creationId="{79288545-17AD-44D9-A96C-3D93C0A9FFFE}"/>
          </ac:cxnSpMkLst>
        </pc:cxnChg>
        <pc:cxnChg chg="mod">
          <ac:chgData name="Jain, Shreyansh" userId="2845c589-ff3c-4dee-bf29-f4bc1a5e1ae1" providerId="ADAL" clId="{24281453-EFF9-4E20-9CC2-652270410453}" dt="2021-12-07T23:01:14.814" v="1200"/>
          <ac:cxnSpMkLst>
            <pc:docMk/>
            <pc:sldMk cId="2405197655" sldId="2693"/>
            <ac:cxnSpMk id="42" creationId="{9EAC78F0-53FF-4EEC-91CF-7F27C5E70991}"/>
          </ac:cxnSpMkLst>
        </pc:cxnChg>
        <pc:cxnChg chg="mod">
          <ac:chgData name="Jain, Shreyansh" userId="2845c589-ff3c-4dee-bf29-f4bc1a5e1ae1" providerId="ADAL" clId="{24281453-EFF9-4E20-9CC2-652270410453}" dt="2021-12-07T23:01:14.814" v="1200"/>
          <ac:cxnSpMkLst>
            <pc:docMk/>
            <pc:sldMk cId="2405197655" sldId="2693"/>
            <ac:cxnSpMk id="45" creationId="{86C7BC4D-9150-49A3-8375-663699C278EF}"/>
          </ac:cxnSpMkLst>
        </pc:cxnChg>
        <pc:cxnChg chg="mod">
          <ac:chgData name="Jain, Shreyansh" userId="2845c589-ff3c-4dee-bf29-f4bc1a5e1ae1" providerId="ADAL" clId="{24281453-EFF9-4E20-9CC2-652270410453}" dt="2021-12-07T23:01:14.814" v="1200"/>
          <ac:cxnSpMkLst>
            <pc:docMk/>
            <pc:sldMk cId="2405197655" sldId="2693"/>
            <ac:cxnSpMk id="50" creationId="{B51E27E8-84FD-4F71-8066-45036221923C}"/>
          </ac:cxnSpMkLst>
        </pc:cxnChg>
        <pc:cxnChg chg="mod">
          <ac:chgData name="Jain, Shreyansh" userId="2845c589-ff3c-4dee-bf29-f4bc1a5e1ae1" providerId="ADAL" clId="{24281453-EFF9-4E20-9CC2-652270410453}" dt="2021-12-07T23:01:14.814" v="1200"/>
          <ac:cxnSpMkLst>
            <pc:docMk/>
            <pc:sldMk cId="2405197655" sldId="2693"/>
            <ac:cxnSpMk id="53" creationId="{2F22F252-BEE2-4FD2-A581-A7C00C3163FD}"/>
          </ac:cxnSpMkLst>
        </pc:cxnChg>
        <pc:cxnChg chg="mod">
          <ac:chgData name="Jain, Shreyansh" userId="2845c589-ff3c-4dee-bf29-f4bc1a5e1ae1" providerId="ADAL" clId="{24281453-EFF9-4E20-9CC2-652270410453}" dt="2021-12-07T23:01:14.814" v="1200"/>
          <ac:cxnSpMkLst>
            <pc:docMk/>
            <pc:sldMk cId="2405197655" sldId="2693"/>
            <ac:cxnSpMk id="58" creationId="{4A7BBDE4-7980-4815-8B90-E107E30CB6A2}"/>
          </ac:cxnSpMkLst>
        </pc:cxnChg>
        <pc:cxnChg chg="mod">
          <ac:chgData name="Jain, Shreyansh" userId="2845c589-ff3c-4dee-bf29-f4bc1a5e1ae1" providerId="ADAL" clId="{24281453-EFF9-4E20-9CC2-652270410453}" dt="2021-12-07T23:01:14.814" v="1200"/>
          <ac:cxnSpMkLst>
            <pc:docMk/>
            <pc:sldMk cId="2405197655" sldId="2693"/>
            <ac:cxnSpMk id="61" creationId="{D64AAA98-6500-4267-87BA-90B6F337153C}"/>
          </ac:cxnSpMkLst>
        </pc:cxnChg>
        <pc:cxnChg chg="mod">
          <ac:chgData name="Jain, Shreyansh" userId="2845c589-ff3c-4dee-bf29-f4bc1a5e1ae1" providerId="ADAL" clId="{24281453-EFF9-4E20-9CC2-652270410453}" dt="2021-12-07T23:01:14.814" v="1200"/>
          <ac:cxnSpMkLst>
            <pc:docMk/>
            <pc:sldMk cId="2405197655" sldId="2693"/>
            <ac:cxnSpMk id="66" creationId="{1E5B4BDE-3636-429B-99C3-A139A32F5D58}"/>
          </ac:cxnSpMkLst>
        </pc:cxnChg>
        <pc:cxnChg chg="mod">
          <ac:chgData name="Jain, Shreyansh" userId="2845c589-ff3c-4dee-bf29-f4bc1a5e1ae1" providerId="ADAL" clId="{24281453-EFF9-4E20-9CC2-652270410453}" dt="2021-12-07T23:01:14.814" v="1200"/>
          <ac:cxnSpMkLst>
            <pc:docMk/>
            <pc:sldMk cId="2405197655" sldId="2693"/>
            <ac:cxnSpMk id="69" creationId="{75B7DA1D-117A-4351-A9EC-1E71C0F9135A}"/>
          </ac:cxnSpMkLst>
        </pc:cxnChg>
        <pc:cxnChg chg="mod">
          <ac:chgData name="Jain, Shreyansh" userId="2845c589-ff3c-4dee-bf29-f4bc1a5e1ae1" providerId="ADAL" clId="{24281453-EFF9-4E20-9CC2-652270410453}" dt="2021-12-07T23:01:22.707" v="1204"/>
          <ac:cxnSpMkLst>
            <pc:docMk/>
            <pc:sldMk cId="2405197655" sldId="2693"/>
            <ac:cxnSpMk id="80" creationId="{135D8567-D5A1-4DAD-91BF-FF8DD7044504}"/>
          </ac:cxnSpMkLst>
        </pc:cxnChg>
        <pc:cxnChg chg="mod">
          <ac:chgData name="Jain, Shreyansh" userId="2845c589-ff3c-4dee-bf29-f4bc1a5e1ae1" providerId="ADAL" clId="{24281453-EFF9-4E20-9CC2-652270410453}" dt="2021-12-07T23:01:22.707" v="1204"/>
          <ac:cxnSpMkLst>
            <pc:docMk/>
            <pc:sldMk cId="2405197655" sldId="2693"/>
            <ac:cxnSpMk id="83" creationId="{51B40A9F-D078-4EBC-996E-2865F5C39053}"/>
          </ac:cxnSpMkLst>
        </pc:cxnChg>
        <pc:cxnChg chg="mod">
          <ac:chgData name="Jain, Shreyansh" userId="2845c589-ff3c-4dee-bf29-f4bc1a5e1ae1" providerId="ADAL" clId="{24281453-EFF9-4E20-9CC2-652270410453}" dt="2021-12-07T23:01:22.707" v="1204"/>
          <ac:cxnSpMkLst>
            <pc:docMk/>
            <pc:sldMk cId="2405197655" sldId="2693"/>
            <ac:cxnSpMk id="88" creationId="{82C66DA0-9D17-4D88-9820-17199578E1F8}"/>
          </ac:cxnSpMkLst>
        </pc:cxnChg>
        <pc:cxnChg chg="mod">
          <ac:chgData name="Jain, Shreyansh" userId="2845c589-ff3c-4dee-bf29-f4bc1a5e1ae1" providerId="ADAL" clId="{24281453-EFF9-4E20-9CC2-652270410453}" dt="2021-12-07T23:01:22.707" v="1204"/>
          <ac:cxnSpMkLst>
            <pc:docMk/>
            <pc:sldMk cId="2405197655" sldId="2693"/>
            <ac:cxnSpMk id="91" creationId="{FCF00050-4583-4E98-9F70-8F743189602C}"/>
          </ac:cxnSpMkLst>
        </pc:cxnChg>
        <pc:cxnChg chg="mod">
          <ac:chgData name="Jain, Shreyansh" userId="2845c589-ff3c-4dee-bf29-f4bc1a5e1ae1" providerId="ADAL" clId="{24281453-EFF9-4E20-9CC2-652270410453}" dt="2021-12-07T23:01:22.707" v="1204"/>
          <ac:cxnSpMkLst>
            <pc:docMk/>
            <pc:sldMk cId="2405197655" sldId="2693"/>
            <ac:cxnSpMk id="96" creationId="{4150276F-BA01-48A2-B96D-C1242ACBD022}"/>
          </ac:cxnSpMkLst>
        </pc:cxnChg>
        <pc:cxnChg chg="mod">
          <ac:chgData name="Jain, Shreyansh" userId="2845c589-ff3c-4dee-bf29-f4bc1a5e1ae1" providerId="ADAL" clId="{24281453-EFF9-4E20-9CC2-652270410453}" dt="2021-12-07T23:01:22.707" v="1204"/>
          <ac:cxnSpMkLst>
            <pc:docMk/>
            <pc:sldMk cId="2405197655" sldId="2693"/>
            <ac:cxnSpMk id="99" creationId="{0C522C7C-C735-4102-A27C-50BF1A9D70A1}"/>
          </ac:cxnSpMkLst>
        </pc:cxnChg>
        <pc:cxnChg chg="mod">
          <ac:chgData name="Jain, Shreyansh" userId="2845c589-ff3c-4dee-bf29-f4bc1a5e1ae1" providerId="ADAL" clId="{24281453-EFF9-4E20-9CC2-652270410453}" dt="2021-12-07T23:01:22.707" v="1204"/>
          <ac:cxnSpMkLst>
            <pc:docMk/>
            <pc:sldMk cId="2405197655" sldId="2693"/>
            <ac:cxnSpMk id="104" creationId="{B36F818D-28BC-4C3D-8CFD-AA901C61DF9F}"/>
          </ac:cxnSpMkLst>
        </pc:cxnChg>
        <pc:cxnChg chg="mod">
          <ac:chgData name="Jain, Shreyansh" userId="2845c589-ff3c-4dee-bf29-f4bc1a5e1ae1" providerId="ADAL" clId="{24281453-EFF9-4E20-9CC2-652270410453}" dt="2021-12-07T23:01:22.707" v="1204"/>
          <ac:cxnSpMkLst>
            <pc:docMk/>
            <pc:sldMk cId="2405197655" sldId="2693"/>
            <ac:cxnSpMk id="107" creationId="{24DB878A-0A5E-41FC-A823-E04BCC3E7136}"/>
          </ac:cxnSpMkLst>
        </pc:cxnChg>
        <pc:cxnChg chg="mod">
          <ac:chgData name="Jain, Shreyansh" userId="2845c589-ff3c-4dee-bf29-f4bc1a5e1ae1" providerId="ADAL" clId="{24281453-EFF9-4E20-9CC2-652270410453}" dt="2021-12-07T23:01:22.707" v="1204"/>
          <ac:cxnSpMkLst>
            <pc:docMk/>
            <pc:sldMk cId="2405197655" sldId="2693"/>
            <ac:cxnSpMk id="112" creationId="{BA16C856-1505-4110-9D68-A90E3783336E}"/>
          </ac:cxnSpMkLst>
        </pc:cxnChg>
        <pc:cxnChg chg="mod">
          <ac:chgData name="Jain, Shreyansh" userId="2845c589-ff3c-4dee-bf29-f4bc1a5e1ae1" providerId="ADAL" clId="{24281453-EFF9-4E20-9CC2-652270410453}" dt="2021-12-07T23:01:22.707" v="1204"/>
          <ac:cxnSpMkLst>
            <pc:docMk/>
            <pc:sldMk cId="2405197655" sldId="2693"/>
            <ac:cxnSpMk id="115" creationId="{DD8FF186-BA7D-45BB-A069-EA7240F3CA9B}"/>
          </ac:cxnSpMkLst>
        </pc:cxnChg>
      </pc:sldChg>
      <pc:sldChg chg="del ord">
        <pc:chgData name="Jain, Shreyansh" userId="2845c589-ff3c-4dee-bf29-f4bc1a5e1ae1" providerId="ADAL" clId="{24281453-EFF9-4E20-9CC2-652270410453}" dt="2021-12-07T23:28:09.815" v="1327" actId="47"/>
        <pc:sldMkLst>
          <pc:docMk/>
          <pc:sldMk cId="2887558017" sldId="2695"/>
        </pc:sldMkLst>
      </pc:sldChg>
      <pc:sldChg chg="del">
        <pc:chgData name="Jain, Shreyansh" userId="2845c589-ff3c-4dee-bf29-f4bc1a5e1ae1" providerId="ADAL" clId="{24281453-EFF9-4E20-9CC2-652270410453}" dt="2021-12-08T03:02:14.309" v="3904" actId="2696"/>
        <pc:sldMkLst>
          <pc:docMk/>
          <pc:sldMk cId="480246610" sldId="2696"/>
        </pc:sldMkLst>
      </pc:sldChg>
      <pc:sldChg chg="del">
        <pc:chgData name="Jain, Shreyansh" userId="2845c589-ff3c-4dee-bf29-f4bc1a5e1ae1" providerId="ADAL" clId="{24281453-EFF9-4E20-9CC2-652270410453}" dt="2021-12-08T03:02:23.039" v="3907" actId="2696"/>
        <pc:sldMkLst>
          <pc:docMk/>
          <pc:sldMk cId="734336920" sldId="2697"/>
        </pc:sldMkLst>
      </pc:sldChg>
      <pc:sldChg chg="delSp modSp mod">
        <pc:chgData name="Jain, Shreyansh" userId="2845c589-ff3c-4dee-bf29-f4bc1a5e1ae1" providerId="ADAL" clId="{24281453-EFF9-4E20-9CC2-652270410453}" dt="2021-12-08T03:17:40.482" v="4069" actId="120"/>
        <pc:sldMkLst>
          <pc:docMk/>
          <pc:sldMk cId="953384855" sldId="2698"/>
        </pc:sldMkLst>
        <pc:spChg chg="mod">
          <ac:chgData name="Jain, Shreyansh" userId="2845c589-ff3c-4dee-bf29-f4bc1a5e1ae1" providerId="ADAL" clId="{24281453-EFF9-4E20-9CC2-652270410453}" dt="2021-12-08T03:17:40.482" v="4069" actId="120"/>
          <ac:spMkLst>
            <pc:docMk/>
            <pc:sldMk cId="953384855" sldId="2698"/>
            <ac:spMk id="2" creationId="{00000000-0000-0000-0000-000000000000}"/>
          </ac:spMkLst>
        </pc:spChg>
        <pc:spChg chg="mod">
          <ac:chgData name="Jain, Shreyansh" userId="2845c589-ff3c-4dee-bf29-f4bc1a5e1ae1" providerId="ADAL" clId="{24281453-EFF9-4E20-9CC2-652270410453}" dt="2021-12-08T01:57:55.757" v="2748" actId="122"/>
          <ac:spMkLst>
            <pc:docMk/>
            <pc:sldMk cId="953384855" sldId="2698"/>
            <ac:spMk id="3" creationId="{00000000-0000-0000-0000-000000000000}"/>
          </ac:spMkLst>
        </pc:spChg>
        <pc:spChg chg="mod">
          <ac:chgData name="Jain, Shreyansh" userId="2845c589-ff3c-4dee-bf29-f4bc1a5e1ae1" providerId="ADAL" clId="{24281453-EFF9-4E20-9CC2-652270410453}" dt="2021-12-07T23:34:13.832" v="1330" actId="1076"/>
          <ac:spMkLst>
            <pc:docMk/>
            <pc:sldMk cId="953384855" sldId="2698"/>
            <ac:spMk id="6" creationId="{99510AA1-D904-4578-B940-48098F91670A}"/>
          </ac:spMkLst>
        </pc:spChg>
        <pc:spChg chg="mod">
          <ac:chgData name="Jain, Shreyansh" userId="2845c589-ff3c-4dee-bf29-f4bc1a5e1ae1" providerId="ADAL" clId="{24281453-EFF9-4E20-9CC2-652270410453}" dt="2021-12-07T23:03:55.825" v="1226" actId="1036"/>
          <ac:spMkLst>
            <pc:docMk/>
            <pc:sldMk cId="953384855" sldId="2698"/>
            <ac:spMk id="9" creationId="{34511D37-5590-4534-90A4-BC404AA9B518}"/>
          </ac:spMkLst>
        </pc:spChg>
        <pc:spChg chg="mod">
          <ac:chgData name="Jain, Shreyansh" userId="2845c589-ff3c-4dee-bf29-f4bc1a5e1ae1" providerId="ADAL" clId="{24281453-EFF9-4E20-9CC2-652270410453}" dt="2021-12-08T01:59:06.299" v="2803" actId="20577"/>
          <ac:spMkLst>
            <pc:docMk/>
            <pc:sldMk cId="953384855" sldId="2698"/>
            <ac:spMk id="22" creationId="{3AFC13F6-02F3-48A5-B4EE-2346F5956045}"/>
          </ac:spMkLst>
        </pc:spChg>
        <pc:spChg chg="del">
          <ac:chgData name="Jain, Shreyansh" userId="2845c589-ff3c-4dee-bf29-f4bc1a5e1ae1" providerId="ADAL" clId="{24281453-EFF9-4E20-9CC2-652270410453}" dt="2021-12-08T01:58:47.823" v="2795" actId="478"/>
          <ac:spMkLst>
            <pc:docMk/>
            <pc:sldMk cId="953384855" sldId="2698"/>
            <ac:spMk id="23" creationId="{D062855E-E196-431E-BED7-1B8C4B137F59}"/>
          </ac:spMkLst>
        </pc:spChg>
        <pc:picChg chg="mod">
          <ac:chgData name="Jain, Shreyansh" userId="2845c589-ff3c-4dee-bf29-f4bc1a5e1ae1" providerId="ADAL" clId="{24281453-EFF9-4E20-9CC2-652270410453}" dt="2021-12-08T03:16:59.139" v="4055" actId="1076"/>
          <ac:picMkLst>
            <pc:docMk/>
            <pc:sldMk cId="953384855" sldId="2698"/>
            <ac:picMk id="33796" creationId="{B36194E2-7A28-4903-8858-C9572B80FFF6}"/>
          </ac:picMkLst>
        </pc:picChg>
      </pc:sldChg>
      <pc:sldChg chg="del">
        <pc:chgData name="Jain, Shreyansh" userId="2845c589-ff3c-4dee-bf29-f4bc1a5e1ae1" providerId="ADAL" clId="{24281453-EFF9-4E20-9CC2-652270410453}" dt="2021-12-08T03:02:20.712" v="3906" actId="2696"/>
        <pc:sldMkLst>
          <pc:docMk/>
          <pc:sldMk cId="547420743" sldId="2699"/>
        </pc:sldMkLst>
      </pc:sldChg>
      <pc:sldChg chg="ord modAnim">
        <pc:chgData name="Jain, Shreyansh" userId="2845c589-ff3c-4dee-bf29-f4bc1a5e1ae1" providerId="ADAL" clId="{24281453-EFF9-4E20-9CC2-652270410453}" dt="2021-12-07T23:25:45.712" v="1315"/>
        <pc:sldMkLst>
          <pc:docMk/>
          <pc:sldMk cId="1557040444" sldId="2700"/>
        </pc:sldMkLst>
      </pc:sldChg>
      <pc:sldChg chg="del">
        <pc:chgData name="Jain, Shreyansh" userId="2845c589-ff3c-4dee-bf29-f4bc1a5e1ae1" providerId="ADAL" clId="{24281453-EFF9-4E20-9CC2-652270410453}" dt="2021-12-08T03:02:17.399" v="3905" actId="2696"/>
        <pc:sldMkLst>
          <pc:docMk/>
          <pc:sldMk cId="2354494062" sldId="2701"/>
        </pc:sldMkLst>
      </pc:sldChg>
      <pc:sldChg chg="modSp add del mod">
        <pc:chgData name="Jain, Shreyansh" userId="2845c589-ff3c-4dee-bf29-f4bc1a5e1ae1" providerId="ADAL" clId="{24281453-EFF9-4E20-9CC2-652270410453}" dt="2021-12-07T22:33:27.021" v="1140" actId="47"/>
        <pc:sldMkLst>
          <pc:docMk/>
          <pc:sldMk cId="19381792" sldId="2703"/>
        </pc:sldMkLst>
        <pc:spChg chg="mod">
          <ac:chgData name="Jain, Shreyansh" userId="2845c589-ff3c-4dee-bf29-f4bc1a5e1ae1" providerId="ADAL" clId="{24281453-EFF9-4E20-9CC2-652270410453}" dt="2021-12-07T21:59:19.903" v="1131" actId="20577"/>
          <ac:spMkLst>
            <pc:docMk/>
            <pc:sldMk cId="19381792" sldId="2703"/>
            <ac:spMk id="19" creationId="{A4C91511-C99A-43C8-8C90-AADAACF14290}"/>
          </ac:spMkLst>
        </pc:spChg>
      </pc:sldChg>
      <pc:sldChg chg="new del">
        <pc:chgData name="Jain, Shreyansh" userId="2845c589-ff3c-4dee-bf29-f4bc1a5e1ae1" providerId="ADAL" clId="{24281453-EFF9-4E20-9CC2-652270410453}" dt="2021-12-07T21:59:07.047" v="1112" actId="47"/>
        <pc:sldMkLst>
          <pc:docMk/>
          <pc:sldMk cId="1551124821" sldId="2703"/>
        </pc:sldMkLst>
      </pc:sldChg>
      <pc:sldChg chg="delSp modSp add mod">
        <pc:chgData name="Jain, Shreyansh" userId="2845c589-ff3c-4dee-bf29-f4bc1a5e1ae1" providerId="ADAL" clId="{24281453-EFF9-4E20-9CC2-652270410453}" dt="2021-12-08T16:43:42.072" v="4085" actId="478"/>
        <pc:sldMkLst>
          <pc:docMk/>
          <pc:sldMk cId="1899183424" sldId="2703"/>
        </pc:sldMkLst>
        <pc:spChg chg="del">
          <ac:chgData name="Jain, Shreyansh" userId="2845c589-ff3c-4dee-bf29-f4bc1a5e1ae1" providerId="ADAL" clId="{24281453-EFF9-4E20-9CC2-652270410453}" dt="2021-12-08T16:43:42.072" v="4085" actId="478"/>
          <ac:spMkLst>
            <pc:docMk/>
            <pc:sldMk cId="1899183424" sldId="2703"/>
            <ac:spMk id="23" creationId="{050055D8-B216-43D3-B844-16C232E67075}"/>
          </ac:spMkLst>
        </pc:spChg>
        <pc:spChg chg="mod">
          <ac:chgData name="Jain, Shreyansh" userId="2845c589-ff3c-4dee-bf29-f4bc1a5e1ae1" providerId="ADAL" clId="{24281453-EFF9-4E20-9CC2-652270410453}" dt="2021-12-08T02:50:21.941" v="3643" actId="20577"/>
          <ac:spMkLst>
            <pc:docMk/>
            <pc:sldMk cId="1899183424" sldId="2703"/>
            <ac:spMk id="30" creationId="{490D244C-C74F-48CA-8CD8-300153C369C9}"/>
          </ac:spMkLst>
        </pc:spChg>
        <pc:spChg chg="mod">
          <ac:chgData name="Jain, Shreyansh" userId="2845c589-ff3c-4dee-bf29-f4bc1a5e1ae1" providerId="ADAL" clId="{24281453-EFF9-4E20-9CC2-652270410453}" dt="2021-12-08T00:55:44.767" v="2228" actId="20577"/>
          <ac:spMkLst>
            <pc:docMk/>
            <pc:sldMk cId="1899183424" sldId="2703"/>
            <ac:spMk id="38" creationId="{983E13F1-9FE4-4B81-A90B-F211F6DB5CE5}"/>
          </ac:spMkLst>
        </pc:spChg>
        <pc:spChg chg="mod">
          <ac:chgData name="Jain, Shreyansh" userId="2845c589-ff3c-4dee-bf29-f4bc1a5e1ae1" providerId="ADAL" clId="{24281453-EFF9-4E20-9CC2-652270410453}" dt="2021-12-08T02:15:55.518" v="3127" actId="20577"/>
          <ac:spMkLst>
            <pc:docMk/>
            <pc:sldMk cId="1899183424" sldId="2703"/>
            <ac:spMk id="46" creationId="{69BC433F-FB5C-4163-9FC7-E50959957535}"/>
          </ac:spMkLst>
        </pc:spChg>
        <pc:spChg chg="mod">
          <ac:chgData name="Jain, Shreyansh" userId="2845c589-ff3c-4dee-bf29-f4bc1a5e1ae1" providerId="ADAL" clId="{24281453-EFF9-4E20-9CC2-652270410453}" dt="2021-12-08T02:49:31.297" v="3612" actId="207"/>
          <ac:spMkLst>
            <pc:docMk/>
            <pc:sldMk cId="1899183424" sldId="2703"/>
            <ac:spMk id="48" creationId="{D4FF8C64-F2B9-4A75-8D07-82D01BAE4A55}"/>
          </ac:spMkLst>
        </pc:spChg>
        <pc:spChg chg="mod">
          <ac:chgData name="Jain, Shreyansh" userId="2845c589-ff3c-4dee-bf29-f4bc1a5e1ae1" providerId="ADAL" clId="{24281453-EFF9-4E20-9CC2-652270410453}" dt="2021-12-08T02:15:52.549" v="3117" actId="20577"/>
          <ac:spMkLst>
            <pc:docMk/>
            <pc:sldMk cId="1899183424" sldId="2703"/>
            <ac:spMk id="54" creationId="{9CA72168-84CE-4813-9377-CD3B754DC2FF}"/>
          </ac:spMkLst>
        </pc:spChg>
        <pc:spChg chg="mod">
          <ac:chgData name="Jain, Shreyansh" userId="2845c589-ff3c-4dee-bf29-f4bc1a5e1ae1" providerId="ADAL" clId="{24281453-EFF9-4E20-9CC2-652270410453}" dt="2021-12-08T02:49:27.363" v="3611" actId="207"/>
          <ac:spMkLst>
            <pc:docMk/>
            <pc:sldMk cId="1899183424" sldId="2703"/>
            <ac:spMk id="56" creationId="{40C28735-08A8-4F6F-9875-373AE4BF9A58}"/>
          </ac:spMkLst>
        </pc:spChg>
      </pc:sldChg>
      <pc:sldChg chg="addSp delSp modSp new del mod delAnim modAnim">
        <pc:chgData name="Jain, Shreyansh" userId="2845c589-ff3c-4dee-bf29-f4bc1a5e1ae1" providerId="ADAL" clId="{24281453-EFF9-4E20-9CC2-652270410453}" dt="2021-12-07T23:01:52.529" v="1209" actId="47"/>
        <pc:sldMkLst>
          <pc:docMk/>
          <pc:sldMk cId="4230890607" sldId="2703"/>
        </pc:sldMkLst>
        <pc:spChg chg="mod">
          <ac:chgData name="Jain, Shreyansh" userId="2845c589-ff3c-4dee-bf29-f4bc1a5e1ae1" providerId="ADAL" clId="{24281453-EFF9-4E20-9CC2-652270410453}" dt="2021-12-07T23:01:04.689" v="1198" actId="122"/>
          <ac:spMkLst>
            <pc:docMk/>
            <pc:sldMk cId="4230890607" sldId="2703"/>
            <ac:spMk id="9" creationId="{54421F11-9C0A-4392-9713-39B23C624CAA}"/>
          </ac:spMkLst>
        </pc:spChg>
        <pc:spChg chg="del mod">
          <ac:chgData name="Jain, Shreyansh" userId="2845c589-ff3c-4dee-bf29-f4bc1a5e1ae1" providerId="ADAL" clId="{24281453-EFF9-4E20-9CC2-652270410453}" dt="2021-12-07T22:59:04.829" v="1169" actId="478"/>
          <ac:spMkLst>
            <pc:docMk/>
            <pc:sldMk cId="4230890607" sldId="2703"/>
            <ac:spMk id="10" creationId="{6B98A7AB-D6D5-4AF8-878B-EDF4B8EC1C4D}"/>
          </ac:spMkLst>
        </pc:spChg>
        <pc:spChg chg="mod">
          <ac:chgData name="Jain, Shreyansh" userId="2845c589-ff3c-4dee-bf29-f4bc1a5e1ae1" providerId="ADAL" clId="{24281453-EFF9-4E20-9CC2-652270410453}" dt="2021-12-07T23:00:05.698" v="1176" actId="207"/>
          <ac:spMkLst>
            <pc:docMk/>
            <pc:sldMk cId="4230890607" sldId="2703"/>
            <ac:spMk id="12" creationId="{3B3C2E01-55E5-45E3-8FC1-8950D6ED7136}"/>
          </ac:spMkLst>
        </pc:spChg>
        <pc:spChg chg="mod">
          <ac:chgData name="Jain, Shreyansh" userId="2845c589-ff3c-4dee-bf29-f4bc1a5e1ae1" providerId="ADAL" clId="{24281453-EFF9-4E20-9CC2-652270410453}" dt="2021-12-07T22:58:09.977" v="1151"/>
          <ac:spMkLst>
            <pc:docMk/>
            <pc:sldMk cId="4230890607" sldId="2703"/>
            <ac:spMk id="15" creationId="{946A7B2F-9AB6-41A7-9BA5-711C44FF989D}"/>
          </ac:spMkLst>
        </pc:spChg>
        <pc:spChg chg="mod">
          <ac:chgData name="Jain, Shreyansh" userId="2845c589-ff3c-4dee-bf29-f4bc1a5e1ae1" providerId="ADAL" clId="{24281453-EFF9-4E20-9CC2-652270410453}" dt="2021-12-07T22:58:09.977" v="1151"/>
          <ac:spMkLst>
            <pc:docMk/>
            <pc:sldMk cId="4230890607" sldId="2703"/>
            <ac:spMk id="16" creationId="{CAA63DF5-5F79-4C24-80BF-7DF8B20571F1}"/>
          </ac:spMkLst>
        </pc:spChg>
        <pc:spChg chg="mod">
          <ac:chgData name="Jain, Shreyansh" userId="2845c589-ff3c-4dee-bf29-f4bc1a5e1ae1" providerId="ADAL" clId="{24281453-EFF9-4E20-9CC2-652270410453}" dt="2021-12-07T23:00:56.907" v="1196" actId="20577"/>
          <ac:spMkLst>
            <pc:docMk/>
            <pc:sldMk cId="4230890607" sldId="2703"/>
            <ac:spMk id="18" creationId="{FB63AFBE-8714-4626-8C35-22F5EA3C1D57}"/>
          </ac:spMkLst>
        </pc:spChg>
        <pc:spChg chg="del mod">
          <ac:chgData name="Jain, Shreyansh" userId="2845c589-ff3c-4dee-bf29-f4bc1a5e1ae1" providerId="ADAL" clId="{24281453-EFF9-4E20-9CC2-652270410453}" dt="2021-12-07T22:59:00.665" v="1167" actId="478"/>
          <ac:spMkLst>
            <pc:docMk/>
            <pc:sldMk cId="4230890607" sldId="2703"/>
            <ac:spMk id="19" creationId="{03E15346-0F55-49A8-B866-8A59E00D878E}"/>
          </ac:spMkLst>
        </pc:spChg>
        <pc:spChg chg="mod">
          <ac:chgData name="Jain, Shreyansh" userId="2845c589-ff3c-4dee-bf29-f4bc1a5e1ae1" providerId="ADAL" clId="{24281453-EFF9-4E20-9CC2-652270410453}" dt="2021-12-07T23:00:02.471" v="1175" actId="207"/>
          <ac:spMkLst>
            <pc:docMk/>
            <pc:sldMk cId="4230890607" sldId="2703"/>
            <ac:spMk id="21" creationId="{CA465F18-EB68-4A7A-B49E-F250BE9CFC7F}"/>
          </ac:spMkLst>
        </pc:spChg>
        <pc:spChg chg="mod">
          <ac:chgData name="Jain, Shreyansh" userId="2845c589-ff3c-4dee-bf29-f4bc1a5e1ae1" providerId="ADAL" clId="{24281453-EFF9-4E20-9CC2-652270410453}" dt="2021-12-07T22:58:09.977" v="1151"/>
          <ac:spMkLst>
            <pc:docMk/>
            <pc:sldMk cId="4230890607" sldId="2703"/>
            <ac:spMk id="24" creationId="{8DE8566F-229E-43FD-BB9F-4F8918C6795E}"/>
          </ac:spMkLst>
        </pc:spChg>
        <pc:spChg chg="mod">
          <ac:chgData name="Jain, Shreyansh" userId="2845c589-ff3c-4dee-bf29-f4bc1a5e1ae1" providerId="ADAL" clId="{24281453-EFF9-4E20-9CC2-652270410453}" dt="2021-12-07T22:58:09.977" v="1151"/>
          <ac:spMkLst>
            <pc:docMk/>
            <pc:sldMk cId="4230890607" sldId="2703"/>
            <ac:spMk id="25" creationId="{56A6F962-CE25-489D-9985-65FBE73173B8}"/>
          </ac:spMkLst>
        </pc:spChg>
        <pc:spChg chg="mod">
          <ac:chgData name="Jain, Shreyansh" userId="2845c589-ff3c-4dee-bf29-f4bc1a5e1ae1" providerId="ADAL" clId="{24281453-EFF9-4E20-9CC2-652270410453}" dt="2021-12-07T23:00:40.719" v="1187" actId="122"/>
          <ac:spMkLst>
            <pc:docMk/>
            <pc:sldMk cId="4230890607" sldId="2703"/>
            <ac:spMk id="27" creationId="{C2A6902B-AB30-443D-AC1C-0B5C0BC4B643}"/>
          </ac:spMkLst>
        </pc:spChg>
        <pc:spChg chg="del mod">
          <ac:chgData name="Jain, Shreyansh" userId="2845c589-ff3c-4dee-bf29-f4bc1a5e1ae1" providerId="ADAL" clId="{24281453-EFF9-4E20-9CC2-652270410453}" dt="2021-12-07T22:58:58.091" v="1166" actId="478"/>
          <ac:spMkLst>
            <pc:docMk/>
            <pc:sldMk cId="4230890607" sldId="2703"/>
            <ac:spMk id="28" creationId="{B838B518-11BA-494A-8B45-949182CD8046}"/>
          </ac:spMkLst>
        </pc:spChg>
        <pc:spChg chg="mod">
          <ac:chgData name="Jain, Shreyansh" userId="2845c589-ff3c-4dee-bf29-f4bc1a5e1ae1" providerId="ADAL" clId="{24281453-EFF9-4E20-9CC2-652270410453}" dt="2021-12-07T22:59:59.336" v="1174" actId="207"/>
          <ac:spMkLst>
            <pc:docMk/>
            <pc:sldMk cId="4230890607" sldId="2703"/>
            <ac:spMk id="30" creationId="{28DD4946-7B61-4981-97B0-8B43BFAB18A7}"/>
          </ac:spMkLst>
        </pc:spChg>
        <pc:spChg chg="mod">
          <ac:chgData name="Jain, Shreyansh" userId="2845c589-ff3c-4dee-bf29-f4bc1a5e1ae1" providerId="ADAL" clId="{24281453-EFF9-4E20-9CC2-652270410453}" dt="2021-12-07T22:58:09.977" v="1151"/>
          <ac:spMkLst>
            <pc:docMk/>
            <pc:sldMk cId="4230890607" sldId="2703"/>
            <ac:spMk id="33" creationId="{49041DD4-E6EF-453A-A65A-CAA1EB7300D7}"/>
          </ac:spMkLst>
        </pc:spChg>
        <pc:spChg chg="mod">
          <ac:chgData name="Jain, Shreyansh" userId="2845c589-ff3c-4dee-bf29-f4bc1a5e1ae1" providerId="ADAL" clId="{24281453-EFF9-4E20-9CC2-652270410453}" dt="2021-12-07T22:58:09.977" v="1151"/>
          <ac:spMkLst>
            <pc:docMk/>
            <pc:sldMk cId="4230890607" sldId="2703"/>
            <ac:spMk id="34" creationId="{676176AC-6DED-42C2-B2E8-539675EDDA59}"/>
          </ac:spMkLst>
        </pc:spChg>
        <pc:spChg chg="mod">
          <ac:chgData name="Jain, Shreyansh" userId="2845c589-ff3c-4dee-bf29-f4bc1a5e1ae1" providerId="ADAL" clId="{24281453-EFF9-4E20-9CC2-652270410453}" dt="2021-12-07T23:00:32.891" v="1185" actId="122"/>
          <ac:spMkLst>
            <pc:docMk/>
            <pc:sldMk cId="4230890607" sldId="2703"/>
            <ac:spMk id="36" creationId="{8201D133-EE8E-4917-AFB0-03A2B18C04E1}"/>
          </ac:spMkLst>
        </pc:spChg>
        <pc:spChg chg="del mod">
          <ac:chgData name="Jain, Shreyansh" userId="2845c589-ff3c-4dee-bf29-f4bc1a5e1ae1" providerId="ADAL" clId="{24281453-EFF9-4E20-9CC2-652270410453}" dt="2021-12-07T22:58:55.316" v="1165" actId="478"/>
          <ac:spMkLst>
            <pc:docMk/>
            <pc:sldMk cId="4230890607" sldId="2703"/>
            <ac:spMk id="37" creationId="{AA30C5A2-1F00-4989-8FF4-B54309FDA30F}"/>
          </ac:spMkLst>
        </pc:spChg>
        <pc:spChg chg="mod">
          <ac:chgData name="Jain, Shreyansh" userId="2845c589-ff3c-4dee-bf29-f4bc1a5e1ae1" providerId="ADAL" clId="{24281453-EFF9-4E20-9CC2-652270410453}" dt="2021-12-07T22:59:36.933" v="1173" actId="207"/>
          <ac:spMkLst>
            <pc:docMk/>
            <pc:sldMk cId="4230890607" sldId="2703"/>
            <ac:spMk id="39" creationId="{7AD8C823-6853-4125-8D61-42FC7519A810}"/>
          </ac:spMkLst>
        </pc:spChg>
        <pc:spChg chg="mod">
          <ac:chgData name="Jain, Shreyansh" userId="2845c589-ff3c-4dee-bf29-f4bc1a5e1ae1" providerId="ADAL" clId="{24281453-EFF9-4E20-9CC2-652270410453}" dt="2021-12-07T22:58:09.977" v="1151"/>
          <ac:spMkLst>
            <pc:docMk/>
            <pc:sldMk cId="4230890607" sldId="2703"/>
            <ac:spMk id="42" creationId="{6BE1B064-11D7-435C-B42A-596CA66F5D00}"/>
          </ac:spMkLst>
        </pc:spChg>
        <pc:spChg chg="mod">
          <ac:chgData name="Jain, Shreyansh" userId="2845c589-ff3c-4dee-bf29-f4bc1a5e1ae1" providerId="ADAL" clId="{24281453-EFF9-4E20-9CC2-652270410453}" dt="2021-12-07T22:58:09.977" v="1151"/>
          <ac:spMkLst>
            <pc:docMk/>
            <pc:sldMk cId="4230890607" sldId="2703"/>
            <ac:spMk id="43" creationId="{C687EFC7-763F-4EE9-98F9-75625B1D9608}"/>
          </ac:spMkLst>
        </pc:spChg>
        <pc:spChg chg="mod">
          <ac:chgData name="Jain, Shreyansh" userId="2845c589-ff3c-4dee-bf29-f4bc1a5e1ae1" providerId="ADAL" clId="{24281453-EFF9-4E20-9CC2-652270410453}" dt="2021-12-07T23:00:25.207" v="1183" actId="122"/>
          <ac:spMkLst>
            <pc:docMk/>
            <pc:sldMk cId="4230890607" sldId="2703"/>
            <ac:spMk id="45" creationId="{80E070AD-8318-40E0-9303-95DAD7BED0EC}"/>
          </ac:spMkLst>
        </pc:spChg>
        <pc:spChg chg="del mod">
          <ac:chgData name="Jain, Shreyansh" userId="2845c589-ff3c-4dee-bf29-f4bc1a5e1ae1" providerId="ADAL" clId="{24281453-EFF9-4E20-9CC2-652270410453}" dt="2021-12-07T22:58:50.368" v="1162" actId="478"/>
          <ac:spMkLst>
            <pc:docMk/>
            <pc:sldMk cId="4230890607" sldId="2703"/>
            <ac:spMk id="46" creationId="{9CC191EC-4A21-4DEC-AAAE-A845A683AD2F}"/>
          </ac:spMkLst>
        </pc:spChg>
        <pc:spChg chg="mod">
          <ac:chgData name="Jain, Shreyansh" userId="2845c589-ff3c-4dee-bf29-f4bc1a5e1ae1" providerId="ADAL" clId="{24281453-EFF9-4E20-9CC2-652270410453}" dt="2021-12-07T22:59:25.165" v="1171" actId="207"/>
          <ac:spMkLst>
            <pc:docMk/>
            <pc:sldMk cId="4230890607" sldId="2703"/>
            <ac:spMk id="48" creationId="{6B62EE57-79AB-43CC-9F84-1F5D1B8BA5FA}"/>
          </ac:spMkLst>
        </pc:spChg>
        <pc:spChg chg="mod">
          <ac:chgData name="Jain, Shreyansh" userId="2845c589-ff3c-4dee-bf29-f4bc1a5e1ae1" providerId="ADAL" clId="{24281453-EFF9-4E20-9CC2-652270410453}" dt="2021-12-07T22:58:09.977" v="1151"/>
          <ac:spMkLst>
            <pc:docMk/>
            <pc:sldMk cId="4230890607" sldId="2703"/>
            <ac:spMk id="51" creationId="{FDEC6DD8-04BD-45B9-B38E-30D28BC51521}"/>
          </ac:spMkLst>
        </pc:spChg>
        <pc:spChg chg="mod">
          <ac:chgData name="Jain, Shreyansh" userId="2845c589-ff3c-4dee-bf29-f4bc1a5e1ae1" providerId="ADAL" clId="{24281453-EFF9-4E20-9CC2-652270410453}" dt="2021-12-07T22:58:09.977" v="1151"/>
          <ac:spMkLst>
            <pc:docMk/>
            <pc:sldMk cId="4230890607" sldId="2703"/>
            <ac:spMk id="52" creationId="{958F0BC1-1E15-403D-9C32-FB3A3B55C231}"/>
          </ac:spMkLst>
        </pc:spChg>
        <pc:spChg chg="add del mod">
          <ac:chgData name="Jain, Shreyansh" userId="2845c589-ff3c-4dee-bf29-f4bc1a5e1ae1" providerId="ADAL" clId="{24281453-EFF9-4E20-9CC2-652270410453}" dt="2021-12-07T23:00:07.390" v="1177" actId="478"/>
          <ac:spMkLst>
            <pc:docMk/>
            <pc:sldMk cId="4230890607" sldId="2703"/>
            <ac:spMk id="54" creationId="{DE4A2268-D2B8-48CC-BE8A-FAB347DF6339}"/>
          </ac:spMkLst>
        </pc:spChg>
        <pc:spChg chg="mod">
          <ac:chgData name="Jain, Shreyansh" userId="2845c589-ff3c-4dee-bf29-f4bc1a5e1ae1" providerId="ADAL" clId="{24281453-EFF9-4E20-9CC2-652270410453}" dt="2021-12-07T22:59:13.668" v="1170"/>
          <ac:spMkLst>
            <pc:docMk/>
            <pc:sldMk cId="4230890607" sldId="2703"/>
            <ac:spMk id="58" creationId="{8926581B-B4D9-402F-A61D-5531854D757D}"/>
          </ac:spMkLst>
        </pc:spChg>
        <pc:spChg chg="mod">
          <ac:chgData name="Jain, Shreyansh" userId="2845c589-ff3c-4dee-bf29-f4bc1a5e1ae1" providerId="ADAL" clId="{24281453-EFF9-4E20-9CC2-652270410453}" dt="2021-12-07T22:59:13.668" v="1170"/>
          <ac:spMkLst>
            <pc:docMk/>
            <pc:sldMk cId="4230890607" sldId="2703"/>
            <ac:spMk id="59" creationId="{E43B1B5D-F208-48FD-9BE4-3C5E9A1741D5}"/>
          </ac:spMkLst>
        </pc:spChg>
        <pc:spChg chg="mod">
          <ac:chgData name="Jain, Shreyansh" userId="2845c589-ff3c-4dee-bf29-f4bc1a5e1ae1" providerId="ADAL" clId="{24281453-EFF9-4E20-9CC2-652270410453}" dt="2021-12-07T22:59:13.668" v="1170"/>
          <ac:spMkLst>
            <pc:docMk/>
            <pc:sldMk cId="4230890607" sldId="2703"/>
            <ac:spMk id="60" creationId="{454F6560-1D80-4E74-832E-DEE68E191D05}"/>
          </ac:spMkLst>
        </pc:spChg>
        <pc:grpChg chg="add del mod">
          <ac:chgData name="Jain, Shreyansh" userId="2845c589-ff3c-4dee-bf29-f4bc1a5e1ae1" providerId="ADAL" clId="{24281453-EFF9-4E20-9CC2-652270410453}" dt="2021-12-07T22:58:53.104" v="1164" actId="478"/>
          <ac:grpSpMkLst>
            <pc:docMk/>
            <pc:sldMk cId="4230890607" sldId="2703"/>
            <ac:grpSpMk id="3" creationId="{48ED9C9C-7EAE-42E4-9925-B654812FDE30}"/>
          </ac:grpSpMkLst>
        </pc:grpChg>
        <pc:grpChg chg="mod">
          <ac:chgData name="Jain, Shreyansh" userId="2845c589-ff3c-4dee-bf29-f4bc1a5e1ae1" providerId="ADAL" clId="{24281453-EFF9-4E20-9CC2-652270410453}" dt="2021-12-07T22:58:09.977" v="1151"/>
          <ac:grpSpMkLst>
            <pc:docMk/>
            <pc:sldMk cId="4230890607" sldId="2703"/>
            <ac:grpSpMk id="4" creationId="{8070CE22-8CC1-454C-B8DD-94A7A52B97E8}"/>
          </ac:grpSpMkLst>
        </pc:grpChg>
        <pc:grpChg chg="mod">
          <ac:chgData name="Jain, Shreyansh" userId="2845c589-ff3c-4dee-bf29-f4bc1a5e1ae1" providerId="ADAL" clId="{24281453-EFF9-4E20-9CC2-652270410453}" dt="2021-12-07T22:58:09.977" v="1151"/>
          <ac:grpSpMkLst>
            <pc:docMk/>
            <pc:sldMk cId="4230890607" sldId="2703"/>
            <ac:grpSpMk id="5" creationId="{764722E3-0AFF-4CFC-AD49-477877DA21E1}"/>
          </ac:grpSpMkLst>
        </pc:grpChg>
        <pc:grpChg chg="mod">
          <ac:chgData name="Jain, Shreyansh" userId="2845c589-ff3c-4dee-bf29-f4bc1a5e1ae1" providerId="ADAL" clId="{24281453-EFF9-4E20-9CC2-652270410453}" dt="2021-12-07T22:58:09.977" v="1151"/>
          <ac:grpSpMkLst>
            <pc:docMk/>
            <pc:sldMk cId="4230890607" sldId="2703"/>
            <ac:grpSpMk id="6" creationId="{02E82067-96B8-40E6-AB0E-74D45A985C6C}"/>
          </ac:grpSpMkLst>
        </pc:grpChg>
        <pc:grpChg chg="mod">
          <ac:chgData name="Jain, Shreyansh" userId="2845c589-ff3c-4dee-bf29-f4bc1a5e1ae1" providerId="ADAL" clId="{24281453-EFF9-4E20-9CC2-652270410453}" dt="2021-12-07T22:58:09.977" v="1151"/>
          <ac:grpSpMkLst>
            <pc:docMk/>
            <pc:sldMk cId="4230890607" sldId="2703"/>
            <ac:grpSpMk id="7" creationId="{F470C151-58C9-4F01-95BA-B0FAAAE0705E}"/>
          </ac:grpSpMkLst>
        </pc:grpChg>
        <pc:grpChg chg="mod">
          <ac:chgData name="Jain, Shreyansh" userId="2845c589-ff3c-4dee-bf29-f4bc1a5e1ae1" providerId="ADAL" clId="{24281453-EFF9-4E20-9CC2-652270410453}" dt="2021-12-07T22:58:09.977" v="1151"/>
          <ac:grpSpMkLst>
            <pc:docMk/>
            <pc:sldMk cId="4230890607" sldId="2703"/>
            <ac:grpSpMk id="8" creationId="{2E53BE3A-0B27-406D-A7A9-342FC56477A1}"/>
          </ac:grpSpMkLst>
        </pc:grpChg>
        <pc:grpChg chg="mod">
          <ac:chgData name="Jain, Shreyansh" userId="2845c589-ff3c-4dee-bf29-f4bc1a5e1ae1" providerId="ADAL" clId="{24281453-EFF9-4E20-9CC2-652270410453}" dt="2021-12-07T22:58:09.977" v="1151"/>
          <ac:grpSpMkLst>
            <pc:docMk/>
            <pc:sldMk cId="4230890607" sldId="2703"/>
            <ac:grpSpMk id="11" creationId="{3E520DEA-0C8B-4C14-BD1E-281E9542D524}"/>
          </ac:grpSpMkLst>
        </pc:grpChg>
        <pc:grpChg chg="mod">
          <ac:chgData name="Jain, Shreyansh" userId="2845c589-ff3c-4dee-bf29-f4bc1a5e1ae1" providerId="ADAL" clId="{24281453-EFF9-4E20-9CC2-652270410453}" dt="2021-12-07T22:58:09.977" v="1151"/>
          <ac:grpSpMkLst>
            <pc:docMk/>
            <pc:sldMk cId="4230890607" sldId="2703"/>
            <ac:grpSpMk id="13" creationId="{493CCAE3-4409-44AC-B9D0-45077E91A84B}"/>
          </ac:grpSpMkLst>
        </pc:grpChg>
        <pc:grpChg chg="mod">
          <ac:chgData name="Jain, Shreyansh" userId="2845c589-ff3c-4dee-bf29-f4bc1a5e1ae1" providerId="ADAL" clId="{24281453-EFF9-4E20-9CC2-652270410453}" dt="2021-12-07T22:58:09.977" v="1151"/>
          <ac:grpSpMkLst>
            <pc:docMk/>
            <pc:sldMk cId="4230890607" sldId="2703"/>
            <ac:grpSpMk id="20" creationId="{A1E85C12-5E05-4452-B92E-A20A3A5D0517}"/>
          </ac:grpSpMkLst>
        </pc:grpChg>
        <pc:grpChg chg="mod">
          <ac:chgData name="Jain, Shreyansh" userId="2845c589-ff3c-4dee-bf29-f4bc1a5e1ae1" providerId="ADAL" clId="{24281453-EFF9-4E20-9CC2-652270410453}" dt="2021-12-07T22:58:09.977" v="1151"/>
          <ac:grpSpMkLst>
            <pc:docMk/>
            <pc:sldMk cId="4230890607" sldId="2703"/>
            <ac:grpSpMk id="22" creationId="{A84B00FA-4449-43AB-8E0F-F9D8F1520336}"/>
          </ac:grpSpMkLst>
        </pc:grpChg>
        <pc:grpChg chg="mod">
          <ac:chgData name="Jain, Shreyansh" userId="2845c589-ff3c-4dee-bf29-f4bc1a5e1ae1" providerId="ADAL" clId="{24281453-EFF9-4E20-9CC2-652270410453}" dt="2021-12-07T22:58:09.977" v="1151"/>
          <ac:grpSpMkLst>
            <pc:docMk/>
            <pc:sldMk cId="4230890607" sldId="2703"/>
            <ac:grpSpMk id="29" creationId="{44DB9C06-B19D-4574-A124-6682D6DDEB52}"/>
          </ac:grpSpMkLst>
        </pc:grpChg>
        <pc:grpChg chg="mod">
          <ac:chgData name="Jain, Shreyansh" userId="2845c589-ff3c-4dee-bf29-f4bc1a5e1ae1" providerId="ADAL" clId="{24281453-EFF9-4E20-9CC2-652270410453}" dt="2021-12-07T22:58:09.977" v="1151"/>
          <ac:grpSpMkLst>
            <pc:docMk/>
            <pc:sldMk cId="4230890607" sldId="2703"/>
            <ac:grpSpMk id="31" creationId="{B5AC982C-C3EC-4A48-84FA-AD71BA533839}"/>
          </ac:grpSpMkLst>
        </pc:grpChg>
        <pc:grpChg chg="mod">
          <ac:chgData name="Jain, Shreyansh" userId="2845c589-ff3c-4dee-bf29-f4bc1a5e1ae1" providerId="ADAL" clId="{24281453-EFF9-4E20-9CC2-652270410453}" dt="2021-12-07T22:58:09.977" v="1151"/>
          <ac:grpSpMkLst>
            <pc:docMk/>
            <pc:sldMk cId="4230890607" sldId="2703"/>
            <ac:grpSpMk id="38" creationId="{578A1406-6B11-4F5C-8150-D62D30FC3E65}"/>
          </ac:grpSpMkLst>
        </pc:grpChg>
        <pc:grpChg chg="mod">
          <ac:chgData name="Jain, Shreyansh" userId="2845c589-ff3c-4dee-bf29-f4bc1a5e1ae1" providerId="ADAL" clId="{24281453-EFF9-4E20-9CC2-652270410453}" dt="2021-12-07T22:58:09.977" v="1151"/>
          <ac:grpSpMkLst>
            <pc:docMk/>
            <pc:sldMk cId="4230890607" sldId="2703"/>
            <ac:grpSpMk id="40" creationId="{3D752A18-0B6F-4511-9FFD-942D12E291A4}"/>
          </ac:grpSpMkLst>
        </pc:grpChg>
        <pc:grpChg chg="mod">
          <ac:chgData name="Jain, Shreyansh" userId="2845c589-ff3c-4dee-bf29-f4bc1a5e1ae1" providerId="ADAL" clId="{24281453-EFF9-4E20-9CC2-652270410453}" dt="2021-12-07T22:58:09.977" v="1151"/>
          <ac:grpSpMkLst>
            <pc:docMk/>
            <pc:sldMk cId="4230890607" sldId="2703"/>
            <ac:grpSpMk id="47" creationId="{A4223AC7-DF67-41EE-BC15-7A31B79E009E}"/>
          </ac:grpSpMkLst>
        </pc:grpChg>
        <pc:grpChg chg="mod">
          <ac:chgData name="Jain, Shreyansh" userId="2845c589-ff3c-4dee-bf29-f4bc1a5e1ae1" providerId="ADAL" clId="{24281453-EFF9-4E20-9CC2-652270410453}" dt="2021-12-07T22:58:09.977" v="1151"/>
          <ac:grpSpMkLst>
            <pc:docMk/>
            <pc:sldMk cId="4230890607" sldId="2703"/>
            <ac:grpSpMk id="49" creationId="{20B5711A-4D8A-4C0E-BAED-946FBA8445CC}"/>
          </ac:grpSpMkLst>
        </pc:grpChg>
        <pc:grpChg chg="add del mod">
          <ac:chgData name="Jain, Shreyansh" userId="2845c589-ff3c-4dee-bf29-f4bc1a5e1ae1" providerId="ADAL" clId="{24281453-EFF9-4E20-9CC2-652270410453}" dt="2021-12-07T22:59:29.364" v="1172" actId="478"/>
          <ac:grpSpMkLst>
            <pc:docMk/>
            <pc:sldMk cId="4230890607" sldId="2703"/>
            <ac:grpSpMk id="55" creationId="{941E3831-917B-4BA2-9E70-BE885EE7D0F2}"/>
          </ac:grpSpMkLst>
        </pc:grpChg>
        <pc:grpChg chg="mod">
          <ac:chgData name="Jain, Shreyansh" userId="2845c589-ff3c-4dee-bf29-f4bc1a5e1ae1" providerId="ADAL" clId="{24281453-EFF9-4E20-9CC2-652270410453}" dt="2021-12-07T22:59:13.668" v="1170"/>
          <ac:grpSpMkLst>
            <pc:docMk/>
            <pc:sldMk cId="4230890607" sldId="2703"/>
            <ac:grpSpMk id="56" creationId="{CA9509B2-E5BB-4660-9A63-FF58A37E5A0D}"/>
          </ac:grpSpMkLst>
        </pc:grpChg>
        <pc:picChg chg="mod">
          <ac:chgData name="Jain, Shreyansh" userId="2845c589-ff3c-4dee-bf29-f4bc1a5e1ae1" providerId="ADAL" clId="{24281453-EFF9-4E20-9CC2-652270410453}" dt="2021-12-07T22:59:13.668" v="1170"/>
          <ac:picMkLst>
            <pc:docMk/>
            <pc:sldMk cId="4230890607" sldId="2703"/>
            <ac:picMk id="57" creationId="{E1C6AE99-C095-4BDF-91ED-FC8ED1CCEBDF}"/>
          </ac:picMkLst>
        </pc:picChg>
        <pc:cxnChg chg="mod">
          <ac:chgData name="Jain, Shreyansh" userId="2845c589-ff3c-4dee-bf29-f4bc1a5e1ae1" providerId="ADAL" clId="{24281453-EFF9-4E20-9CC2-652270410453}" dt="2021-12-07T22:58:53.104" v="1164" actId="478"/>
          <ac:cxnSpMkLst>
            <pc:docMk/>
            <pc:sldMk cId="4230890607" sldId="2703"/>
            <ac:cxnSpMk id="14" creationId="{1111DC37-F9F5-4FD8-85B7-A1C5A6C3C5B3}"/>
          </ac:cxnSpMkLst>
        </pc:cxnChg>
        <pc:cxnChg chg="mod">
          <ac:chgData name="Jain, Shreyansh" userId="2845c589-ff3c-4dee-bf29-f4bc1a5e1ae1" providerId="ADAL" clId="{24281453-EFF9-4E20-9CC2-652270410453}" dt="2021-12-07T22:58:09.977" v="1151"/>
          <ac:cxnSpMkLst>
            <pc:docMk/>
            <pc:sldMk cId="4230890607" sldId="2703"/>
            <ac:cxnSpMk id="17" creationId="{58BDFC16-863E-4E67-AFBA-404EFC6C893C}"/>
          </ac:cxnSpMkLst>
        </pc:cxnChg>
        <pc:cxnChg chg="mod">
          <ac:chgData name="Jain, Shreyansh" userId="2845c589-ff3c-4dee-bf29-f4bc1a5e1ae1" providerId="ADAL" clId="{24281453-EFF9-4E20-9CC2-652270410453}" dt="2021-12-07T22:58:53.104" v="1164" actId="478"/>
          <ac:cxnSpMkLst>
            <pc:docMk/>
            <pc:sldMk cId="4230890607" sldId="2703"/>
            <ac:cxnSpMk id="23" creationId="{09941F5A-FBA4-42B7-A10E-B3D9276986A7}"/>
          </ac:cxnSpMkLst>
        </pc:cxnChg>
        <pc:cxnChg chg="mod">
          <ac:chgData name="Jain, Shreyansh" userId="2845c589-ff3c-4dee-bf29-f4bc1a5e1ae1" providerId="ADAL" clId="{24281453-EFF9-4E20-9CC2-652270410453}" dt="2021-12-07T22:58:09.977" v="1151"/>
          <ac:cxnSpMkLst>
            <pc:docMk/>
            <pc:sldMk cId="4230890607" sldId="2703"/>
            <ac:cxnSpMk id="26" creationId="{85819B81-BFB1-4DC5-9084-15E4A36721EF}"/>
          </ac:cxnSpMkLst>
        </pc:cxnChg>
        <pc:cxnChg chg="mod">
          <ac:chgData name="Jain, Shreyansh" userId="2845c589-ff3c-4dee-bf29-f4bc1a5e1ae1" providerId="ADAL" clId="{24281453-EFF9-4E20-9CC2-652270410453}" dt="2021-12-07T22:58:53.104" v="1164" actId="478"/>
          <ac:cxnSpMkLst>
            <pc:docMk/>
            <pc:sldMk cId="4230890607" sldId="2703"/>
            <ac:cxnSpMk id="32" creationId="{2720BA97-E5CD-4C61-AE5C-CF09B024CD77}"/>
          </ac:cxnSpMkLst>
        </pc:cxnChg>
        <pc:cxnChg chg="mod">
          <ac:chgData name="Jain, Shreyansh" userId="2845c589-ff3c-4dee-bf29-f4bc1a5e1ae1" providerId="ADAL" clId="{24281453-EFF9-4E20-9CC2-652270410453}" dt="2021-12-07T22:58:09.977" v="1151"/>
          <ac:cxnSpMkLst>
            <pc:docMk/>
            <pc:sldMk cId="4230890607" sldId="2703"/>
            <ac:cxnSpMk id="35" creationId="{2A67554E-BC44-4719-99A7-8A804570E8F3}"/>
          </ac:cxnSpMkLst>
        </pc:cxnChg>
        <pc:cxnChg chg="mod">
          <ac:chgData name="Jain, Shreyansh" userId="2845c589-ff3c-4dee-bf29-f4bc1a5e1ae1" providerId="ADAL" clId="{24281453-EFF9-4E20-9CC2-652270410453}" dt="2021-12-07T22:58:53.104" v="1164" actId="478"/>
          <ac:cxnSpMkLst>
            <pc:docMk/>
            <pc:sldMk cId="4230890607" sldId="2703"/>
            <ac:cxnSpMk id="41" creationId="{04B1CB2B-D249-4E6E-973A-A901E7FE7D23}"/>
          </ac:cxnSpMkLst>
        </pc:cxnChg>
        <pc:cxnChg chg="mod">
          <ac:chgData name="Jain, Shreyansh" userId="2845c589-ff3c-4dee-bf29-f4bc1a5e1ae1" providerId="ADAL" clId="{24281453-EFF9-4E20-9CC2-652270410453}" dt="2021-12-07T22:58:09.977" v="1151"/>
          <ac:cxnSpMkLst>
            <pc:docMk/>
            <pc:sldMk cId="4230890607" sldId="2703"/>
            <ac:cxnSpMk id="44" creationId="{450DA45A-2AD3-4585-A719-994C4FBEC29E}"/>
          </ac:cxnSpMkLst>
        </pc:cxnChg>
        <pc:cxnChg chg="mod">
          <ac:chgData name="Jain, Shreyansh" userId="2845c589-ff3c-4dee-bf29-f4bc1a5e1ae1" providerId="ADAL" clId="{24281453-EFF9-4E20-9CC2-652270410453}" dt="2021-12-07T22:58:53.104" v="1164" actId="478"/>
          <ac:cxnSpMkLst>
            <pc:docMk/>
            <pc:sldMk cId="4230890607" sldId="2703"/>
            <ac:cxnSpMk id="50" creationId="{C512B893-5CBD-4453-8C13-FF95B3C8A6AC}"/>
          </ac:cxnSpMkLst>
        </pc:cxnChg>
        <pc:cxnChg chg="mod">
          <ac:chgData name="Jain, Shreyansh" userId="2845c589-ff3c-4dee-bf29-f4bc1a5e1ae1" providerId="ADAL" clId="{24281453-EFF9-4E20-9CC2-652270410453}" dt="2021-12-07T22:58:09.977" v="1151"/>
          <ac:cxnSpMkLst>
            <pc:docMk/>
            <pc:sldMk cId="4230890607" sldId="2703"/>
            <ac:cxnSpMk id="53" creationId="{5A4E1A7D-0E9D-4E4D-9AB1-54B4A6A31B6F}"/>
          </ac:cxnSpMkLst>
        </pc:cxnChg>
      </pc:sldChg>
      <pc:sldChg chg="addSp delSp modSp add del mod ord">
        <pc:chgData name="Jain, Shreyansh" userId="2845c589-ff3c-4dee-bf29-f4bc1a5e1ae1" providerId="ADAL" clId="{24281453-EFF9-4E20-9CC2-652270410453}" dt="2021-12-08T01:42:09.530" v="2690" actId="47"/>
        <pc:sldMkLst>
          <pc:docMk/>
          <pc:sldMk cId="4086908284" sldId="2704"/>
        </pc:sldMkLst>
        <pc:spChg chg="del">
          <ac:chgData name="Jain, Shreyansh" userId="2845c589-ff3c-4dee-bf29-f4bc1a5e1ae1" providerId="ADAL" clId="{24281453-EFF9-4E20-9CC2-652270410453}" dt="2021-12-07T23:06:58.699" v="1228" actId="478"/>
          <ac:spMkLst>
            <pc:docMk/>
            <pc:sldMk cId="4086908284" sldId="2704"/>
            <ac:spMk id="7" creationId="{DED0F845-3016-4AC6-86DF-842CB9F9962E}"/>
          </ac:spMkLst>
        </pc:spChg>
        <pc:spChg chg="del">
          <ac:chgData name="Jain, Shreyansh" userId="2845c589-ff3c-4dee-bf29-f4bc1a5e1ae1" providerId="ADAL" clId="{24281453-EFF9-4E20-9CC2-652270410453}" dt="2021-12-07T23:07:01.800" v="1229" actId="478"/>
          <ac:spMkLst>
            <pc:docMk/>
            <pc:sldMk cId="4086908284" sldId="2704"/>
            <ac:spMk id="11" creationId="{E3393CEF-38DC-4B27-B346-085AD2329B2E}"/>
          </ac:spMkLst>
        </pc:spChg>
        <pc:spChg chg="add mod">
          <ac:chgData name="Jain, Shreyansh" userId="2845c589-ff3c-4dee-bf29-f4bc1a5e1ae1" providerId="ADAL" clId="{24281453-EFF9-4E20-9CC2-652270410453}" dt="2021-12-08T01:39:24.581" v="2688" actId="1076"/>
          <ac:spMkLst>
            <pc:docMk/>
            <pc:sldMk cId="4086908284" sldId="2704"/>
            <ac:spMk id="16" creationId="{F6F70A53-52FC-43CB-AABA-FC4040FB7F63}"/>
          </ac:spMkLst>
        </pc:spChg>
        <pc:spChg chg="mod">
          <ac:chgData name="Jain, Shreyansh" userId="2845c589-ff3c-4dee-bf29-f4bc1a5e1ae1" providerId="ADAL" clId="{24281453-EFF9-4E20-9CC2-652270410453}" dt="2021-12-08T01:35:36.674" v="2650" actId="20577"/>
          <ac:spMkLst>
            <pc:docMk/>
            <pc:sldMk cId="4086908284" sldId="2704"/>
            <ac:spMk id="18" creationId="{8005023D-783C-4953-AE47-CC81169813CA}"/>
          </ac:spMkLst>
        </pc:spChg>
        <pc:spChg chg="mod">
          <ac:chgData name="Jain, Shreyansh" userId="2845c589-ff3c-4dee-bf29-f4bc1a5e1ae1" providerId="ADAL" clId="{24281453-EFF9-4E20-9CC2-652270410453}" dt="2021-12-07T23:15:10.216" v="1308" actId="20577"/>
          <ac:spMkLst>
            <pc:docMk/>
            <pc:sldMk cId="4086908284" sldId="2704"/>
            <ac:spMk id="33" creationId="{36EA1BBF-98EF-4F60-BFA7-005836F93CDA}"/>
          </ac:spMkLst>
        </pc:spChg>
      </pc:sldChg>
      <pc:sldChg chg="modSp add del mod">
        <pc:chgData name="Jain, Shreyansh" userId="2845c589-ff3c-4dee-bf29-f4bc1a5e1ae1" providerId="ADAL" clId="{24281453-EFF9-4E20-9CC2-652270410453}" dt="2021-12-08T00:56:58.889" v="2229" actId="47"/>
        <pc:sldMkLst>
          <pc:docMk/>
          <pc:sldMk cId="798183989" sldId="2705"/>
        </pc:sldMkLst>
        <pc:spChg chg="mod">
          <ac:chgData name="Jain, Shreyansh" userId="2845c589-ff3c-4dee-bf29-f4bc1a5e1ae1" providerId="ADAL" clId="{24281453-EFF9-4E20-9CC2-652270410453}" dt="2021-12-07T23:28:30.605" v="1329" actId="207"/>
          <ac:spMkLst>
            <pc:docMk/>
            <pc:sldMk cId="798183989" sldId="2705"/>
            <ac:spMk id="40" creationId="{4E70B1D2-1E63-4A66-9CFB-89BAA56515BB}"/>
          </ac:spMkLst>
        </pc:spChg>
        <pc:spChg chg="mod">
          <ac:chgData name="Jain, Shreyansh" userId="2845c589-ff3c-4dee-bf29-f4bc1a5e1ae1" providerId="ADAL" clId="{24281453-EFF9-4E20-9CC2-652270410453}" dt="2021-12-07T23:28:24.703" v="1328" actId="207"/>
          <ac:spMkLst>
            <pc:docMk/>
            <pc:sldMk cId="798183989" sldId="2705"/>
            <ac:spMk id="48" creationId="{D4FF8C64-F2B9-4A75-8D07-82D01BAE4A55}"/>
          </ac:spMkLst>
        </pc:spChg>
      </pc:sldChg>
      <pc:sldChg chg="add del">
        <pc:chgData name="Jain, Shreyansh" userId="2845c589-ff3c-4dee-bf29-f4bc1a5e1ae1" providerId="ADAL" clId="{24281453-EFF9-4E20-9CC2-652270410453}" dt="2021-12-07T23:35:26.481" v="1332" actId="47"/>
        <pc:sldMkLst>
          <pc:docMk/>
          <pc:sldMk cId="136133428" sldId="2706"/>
        </pc:sldMkLst>
      </pc:sldChg>
      <pc:sldChg chg="addSp delSp modSp add mod">
        <pc:chgData name="Jain, Shreyansh" userId="2845c589-ff3c-4dee-bf29-f4bc1a5e1ae1" providerId="ADAL" clId="{24281453-EFF9-4E20-9CC2-652270410453}" dt="2021-12-08T16:45:48.331" v="4130" actId="20577"/>
        <pc:sldMkLst>
          <pc:docMk/>
          <pc:sldMk cId="3734496598" sldId="2706"/>
        </pc:sldMkLst>
        <pc:spChg chg="add mod">
          <ac:chgData name="Jain, Shreyansh" userId="2845c589-ff3c-4dee-bf29-f4bc1a5e1ae1" providerId="ADAL" clId="{24281453-EFF9-4E20-9CC2-652270410453}" dt="2021-12-08T01:03:46.410" v="2363" actId="1035"/>
          <ac:spMkLst>
            <pc:docMk/>
            <pc:sldMk cId="3734496598" sldId="2706"/>
            <ac:spMk id="2" creationId="{2E245954-DC79-4928-9D39-9A1F170D57B8}"/>
          </ac:spMkLst>
        </pc:spChg>
        <pc:spChg chg="del">
          <ac:chgData name="Jain, Shreyansh" userId="2845c589-ff3c-4dee-bf29-f4bc1a5e1ae1" providerId="ADAL" clId="{24281453-EFF9-4E20-9CC2-652270410453}" dt="2021-12-07T23:44:05.245" v="1385" actId="478"/>
          <ac:spMkLst>
            <pc:docMk/>
            <pc:sldMk cId="3734496598" sldId="2706"/>
            <ac:spMk id="2" creationId="{90E8FDF9-F7F4-4EC2-9450-0C6E5F8A7602}"/>
          </ac:spMkLst>
        </pc:spChg>
        <pc:spChg chg="mod">
          <ac:chgData name="Jain, Shreyansh" userId="2845c589-ff3c-4dee-bf29-f4bc1a5e1ae1" providerId="ADAL" clId="{24281453-EFF9-4E20-9CC2-652270410453}" dt="2021-12-08T02:41:19.880" v="3571" actId="2085"/>
          <ac:spMkLst>
            <pc:docMk/>
            <pc:sldMk cId="3734496598" sldId="2706"/>
            <ac:spMk id="2" creationId="{CDD324B7-ED84-4F1D-8F6C-EEA42A2A9B07}"/>
          </ac:spMkLst>
        </pc:spChg>
        <pc:spChg chg="del">
          <ac:chgData name="Jain, Shreyansh" userId="2845c589-ff3c-4dee-bf29-f4bc1a5e1ae1" providerId="ADAL" clId="{24281453-EFF9-4E20-9CC2-652270410453}" dt="2021-12-07T23:44:05.245" v="1385" actId="478"/>
          <ac:spMkLst>
            <pc:docMk/>
            <pc:sldMk cId="3734496598" sldId="2706"/>
            <ac:spMk id="3" creationId="{F5D73D57-1A96-457F-A700-A75893A164E7}"/>
          </ac:spMkLst>
        </pc:spChg>
        <pc:spChg chg="del">
          <ac:chgData name="Jain, Shreyansh" userId="2845c589-ff3c-4dee-bf29-f4bc1a5e1ae1" providerId="ADAL" clId="{24281453-EFF9-4E20-9CC2-652270410453}" dt="2021-12-07T23:44:05.245" v="1385" actId="478"/>
          <ac:spMkLst>
            <pc:docMk/>
            <pc:sldMk cId="3734496598" sldId="2706"/>
            <ac:spMk id="4" creationId="{5B8B1312-2DA1-41AC-AD15-2393BF71CD97}"/>
          </ac:spMkLst>
        </pc:spChg>
        <pc:spChg chg="mod">
          <ac:chgData name="Jain, Shreyansh" userId="2845c589-ff3c-4dee-bf29-f4bc1a5e1ae1" providerId="ADAL" clId="{24281453-EFF9-4E20-9CC2-652270410453}" dt="2021-12-08T00:28:32.296" v="2136" actId="20577"/>
          <ac:spMkLst>
            <pc:docMk/>
            <pc:sldMk cId="3734496598" sldId="2706"/>
            <ac:spMk id="7" creationId="{35C371CC-3336-41A3-BB34-6E2A0C172BE3}"/>
          </ac:spMkLst>
        </pc:spChg>
        <pc:spChg chg="del">
          <ac:chgData name="Jain, Shreyansh" userId="2845c589-ff3c-4dee-bf29-f4bc1a5e1ae1" providerId="ADAL" clId="{24281453-EFF9-4E20-9CC2-652270410453}" dt="2021-12-07T23:44:05.245" v="1385" actId="478"/>
          <ac:spMkLst>
            <pc:docMk/>
            <pc:sldMk cId="3734496598" sldId="2706"/>
            <ac:spMk id="8" creationId="{D718F325-DB6B-412B-86C2-068F3B1BFF58}"/>
          </ac:spMkLst>
        </pc:spChg>
        <pc:spChg chg="del">
          <ac:chgData name="Jain, Shreyansh" userId="2845c589-ff3c-4dee-bf29-f4bc1a5e1ae1" providerId="ADAL" clId="{24281453-EFF9-4E20-9CC2-652270410453}" dt="2021-12-07T23:44:05.245" v="1385" actId="478"/>
          <ac:spMkLst>
            <pc:docMk/>
            <pc:sldMk cId="3734496598" sldId="2706"/>
            <ac:spMk id="9" creationId="{500C6AC9-669C-406A-9017-2522502E0D0D}"/>
          </ac:spMkLst>
        </pc:spChg>
        <pc:spChg chg="del">
          <ac:chgData name="Jain, Shreyansh" userId="2845c589-ff3c-4dee-bf29-f4bc1a5e1ae1" providerId="ADAL" clId="{24281453-EFF9-4E20-9CC2-652270410453}" dt="2021-12-07T23:44:05.245" v="1385" actId="478"/>
          <ac:spMkLst>
            <pc:docMk/>
            <pc:sldMk cId="3734496598" sldId="2706"/>
            <ac:spMk id="10" creationId="{2CBC7D2F-8922-458C-A74D-CCB7F4475659}"/>
          </ac:spMkLst>
        </pc:spChg>
        <pc:spChg chg="del">
          <ac:chgData name="Jain, Shreyansh" userId="2845c589-ff3c-4dee-bf29-f4bc1a5e1ae1" providerId="ADAL" clId="{24281453-EFF9-4E20-9CC2-652270410453}" dt="2021-12-07T23:44:05.245" v="1385" actId="478"/>
          <ac:spMkLst>
            <pc:docMk/>
            <pc:sldMk cId="3734496598" sldId="2706"/>
            <ac:spMk id="11" creationId="{63E6E91B-4B34-4092-ABC0-0BE416D2362B}"/>
          </ac:spMkLst>
        </pc:spChg>
        <pc:spChg chg="del">
          <ac:chgData name="Jain, Shreyansh" userId="2845c589-ff3c-4dee-bf29-f4bc1a5e1ae1" providerId="ADAL" clId="{24281453-EFF9-4E20-9CC2-652270410453}" dt="2021-12-07T23:44:05.245" v="1385" actId="478"/>
          <ac:spMkLst>
            <pc:docMk/>
            <pc:sldMk cId="3734496598" sldId="2706"/>
            <ac:spMk id="12" creationId="{D2926614-ABA4-44F6-A75E-5046FE20A83E}"/>
          </ac:spMkLst>
        </pc:spChg>
        <pc:spChg chg="del">
          <ac:chgData name="Jain, Shreyansh" userId="2845c589-ff3c-4dee-bf29-f4bc1a5e1ae1" providerId="ADAL" clId="{24281453-EFF9-4E20-9CC2-652270410453}" dt="2021-12-07T23:44:05.245" v="1385" actId="478"/>
          <ac:spMkLst>
            <pc:docMk/>
            <pc:sldMk cId="3734496598" sldId="2706"/>
            <ac:spMk id="13" creationId="{ECA3AB0C-C00B-43B5-9CA3-8C98F7EE0652}"/>
          </ac:spMkLst>
        </pc:spChg>
        <pc:spChg chg="del">
          <ac:chgData name="Jain, Shreyansh" userId="2845c589-ff3c-4dee-bf29-f4bc1a5e1ae1" providerId="ADAL" clId="{24281453-EFF9-4E20-9CC2-652270410453}" dt="2021-12-07T23:44:05.245" v="1385" actId="478"/>
          <ac:spMkLst>
            <pc:docMk/>
            <pc:sldMk cId="3734496598" sldId="2706"/>
            <ac:spMk id="14" creationId="{F1A836A5-1532-4ED4-91D6-7329705034BD}"/>
          </ac:spMkLst>
        </pc:spChg>
        <pc:spChg chg="add mod">
          <ac:chgData name="Jain, Shreyansh" userId="2845c589-ff3c-4dee-bf29-f4bc1a5e1ae1" providerId="ADAL" clId="{24281453-EFF9-4E20-9CC2-652270410453}" dt="2021-12-07T23:56:44.097" v="1806" actId="115"/>
          <ac:spMkLst>
            <pc:docMk/>
            <pc:sldMk cId="3734496598" sldId="2706"/>
            <ac:spMk id="15" creationId="{5E920D8F-11A1-4692-BCC2-0C06C46C7138}"/>
          </ac:spMkLst>
        </pc:spChg>
        <pc:spChg chg="add mod">
          <ac:chgData name="Jain, Shreyansh" userId="2845c589-ff3c-4dee-bf29-f4bc1a5e1ae1" providerId="ADAL" clId="{24281453-EFF9-4E20-9CC2-652270410453}" dt="2021-12-07T23:56:18.263" v="1788" actId="14100"/>
          <ac:spMkLst>
            <pc:docMk/>
            <pc:sldMk cId="3734496598" sldId="2706"/>
            <ac:spMk id="20" creationId="{36531F54-ECC8-4697-A3E1-B957BC353732}"/>
          </ac:spMkLst>
        </pc:spChg>
        <pc:spChg chg="mod">
          <ac:chgData name="Jain, Shreyansh" userId="2845c589-ff3c-4dee-bf29-f4bc1a5e1ae1" providerId="ADAL" clId="{24281453-EFF9-4E20-9CC2-652270410453}" dt="2021-12-08T00:58:52.735" v="2279" actId="1038"/>
          <ac:spMkLst>
            <pc:docMk/>
            <pc:sldMk cId="3734496598" sldId="2706"/>
            <ac:spMk id="37" creationId="{DE2FBB67-E34A-4BD8-9180-9D0DF72046D8}"/>
          </ac:spMkLst>
        </pc:spChg>
        <pc:spChg chg="mod">
          <ac:chgData name="Jain, Shreyansh" userId="2845c589-ff3c-4dee-bf29-f4bc1a5e1ae1" providerId="ADAL" clId="{24281453-EFF9-4E20-9CC2-652270410453}" dt="2021-12-08T00:58:52.735" v="2279" actId="1038"/>
          <ac:spMkLst>
            <pc:docMk/>
            <pc:sldMk cId="3734496598" sldId="2706"/>
            <ac:spMk id="57" creationId="{413D94E8-A61C-40E2-B541-B332BDEBCCB6}"/>
          </ac:spMkLst>
        </pc:spChg>
        <pc:spChg chg="mod">
          <ac:chgData name="Jain, Shreyansh" userId="2845c589-ff3c-4dee-bf29-f4bc1a5e1ae1" providerId="ADAL" clId="{24281453-EFF9-4E20-9CC2-652270410453}" dt="2021-12-08T00:58:52.735" v="2279" actId="1038"/>
          <ac:spMkLst>
            <pc:docMk/>
            <pc:sldMk cId="3734496598" sldId="2706"/>
            <ac:spMk id="60" creationId="{EDAED089-E598-410E-84D2-7833384C5401}"/>
          </ac:spMkLst>
        </pc:spChg>
        <pc:spChg chg="mod">
          <ac:chgData name="Jain, Shreyansh" userId="2845c589-ff3c-4dee-bf29-f4bc1a5e1ae1" providerId="ADAL" clId="{24281453-EFF9-4E20-9CC2-652270410453}" dt="2021-12-08T00:58:52.735" v="2279" actId="1038"/>
          <ac:spMkLst>
            <pc:docMk/>
            <pc:sldMk cId="3734496598" sldId="2706"/>
            <ac:spMk id="63" creationId="{13C6C20A-ED6E-4AB0-B32A-023F5A9C74B6}"/>
          </ac:spMkLst>
        </pc:spChg>
        <pc:spChg chg="mod">
          <ac:chgData name="Jain, Shreyansh" userId="2845c589-ff3c-4dee-bf29-f4bc1a5e1ae1" providerId="ADAL" clId="{24281453-EFF9-4E20-9CC2-652270410453}" dt="2021-12-08T00:58:52.735" v="2279" actId="1038"/>
          <ac:spMkLst>
            <pc:docMk/>
            <pc:sldMk cId="3734496598" sldId="2706"/>
            <ac:spMk id="66" creationId="{BC55EF82-5F39-4FBE-9FB9-F71800FA3BB4}"/>
          </ac:spMkLst>
        </pc:spChg>
        <pc:spChg chg="mod">
          <ac:chgData name="Jain, Shreyansh" userId="2845c589-ff3c-4dee-bf29-f4bc1a5e1ae1" providerId="ADAL" clId="{24281453-EFF9-4E20-9CC2-652270410453}" dt="2021-12-08T02:41:05.360" v="3568" actId="207"/>
          <ac:spMkLst>
            <pc:docMk/>
            <pc:sldMk cId="3734496598" sldId="2706"/>
            <ac:spMk id="69" creationId="{ECEB6EB5-9841-4006-A6D2-0A3C75218D4A}"/>
          </ac:spMkLst>
        </pc:spChg>
        <pc:spChg chg="del">
          <ac:chgData name="Jain, Shreyansh" userId="2845c589-ff3c-4dee-bf29-f4bc1a5e1ae1" providerId="ADAL" clId="{24281453-EFF9-4E20-9CC2-652270410453}" dt="2021-12-07T23:44:05.245" v="1385" actId="478"/>
          <ac:spMkLst>
            <pc:docMk/>
            <pc:sldMk cId="3734496598" sldId="2706"/>
            <ac:spMk id="70" creationId="{D6EA8E35-0775-4BF2-9262-AE865910CE70}"/>
          </ac:spMkLst>
        </pc:spChg>
        <pc:spChg chg="mod">
          <ac:chgData name="Jain, Shreyansh" userId="2845c589-ff3c-4dee-bf29-f4bc1a5e1ae1" providerId="ADAL" clId="{24281453-EFF9-4E20-9CC2-652270410453}" dt="2021-12-07T23:43:59.227" v="1384" actId="14100"/>
          <ac:spMkLst>
            <pc:docMk/>
            <pc:sldMk cId="3734496598" sldId="2706"/>
            <ac:spMk id="84" creationId="{7ED3C627-B138-4B8E-90D1-7AC859F140F3}"/>
          </ac:spMkLst>
        </pc:spChg>
        <pc:spChg chg="add mod">
          <ac:chgData name="Jain, Shreyansh" userId="2845c589-ff3c-4dee-bf29-f4bc1a5e1ae1" providerId="ADAL" clId="{24281453-EFF9-4E20-9CC2-652270410453}" dt="2021-12-07T23:56:57.652" v="1809" actId="1076"/>
          <ac:spMkLst>
            <pc:docMk/>
            <pc:sldMk cId="3734496598" sldId="2706"/>
            <ac:spMk id="116" creationId="{A3128561-A1B2-4687-8618-227359770898}"/>
          </ac:spMkLst>
        </pc:spChg>
        <pc:spChg chg="add mod">
          <ac:chgData name="Jain, Shreyansh" userId="2845c589-ff3c-4dee-bf29-f4bc1a5e1ae1" providerId="ADAL" clId="{24281453-EFF9-4E20-9CC2-652270410453}" dt="2021-12-07T23:56:48.451" v="1808" actId="115"/>
          <ac:spMkLst>
            <pc:docMk/>
            <pc:sldMk cId="3734496598" sldId="2706"/>
            <ac:spMk id="117" creationId="{DD06631F-7809-40CB-B3FC-1ABF205F8572}"/>
          </ac:spMkLst>
        </pc:spChg>
        <pc:spChg chg="add mod">
          <ac:chgData name="Jain, Shreyansh" userId="2845c589-ff3c-4dee-bf29-f4bc1a5e1ae1" providerId="ADAL" clId="{24281453-EFF9-4E20-9CC2-652270410453}" dt="2021-12-07T23:56:29.087" v="1799" actId="1038"/>
          <ac:spMkLst>
            <pc:docMk/>
            <pc:sldMk cId="3734496598" sldId="2706"/>
            <ac:spMk id="118" creationId="{95FF522F-BEFF-41DD-91A4-746F3123B63B}"/>
          </ac:spMkLst>
        </pc:spChg>
        <pc:spChg chg="add mod">
          <ac:chgData name="Jain, Shreyansh" userId="2845c589-ff3c-4dee-bf29-f4bc1a5e1ae1" providerId="ADAL" clId="{24281453-EFF9-4E20-9CC2-652270410453}" dt="2021-12-07T23:56:39.453" v="1805" actId="14100"/>
          <ac:spMkLst>
            <pc:docMk/>
            <pc:sldMk cId="3734496598" sldId="2706"/>
            <ac:spMk id="119" creationId="{35A3E92B-CD5C-421A-90F4-89FE407B2469}"/>
          </ac:spMkLst>
        </pc:spChg>
        <pc:spChg chg="add mod">
          <ac:chgData name="Jain, Shreyansh" userId="2845c589-ff3c-4dee-bf29-f4bc1a5e1ae1" providerId="ADAL" clId="{24281453-EFF9-4E20-9CC2-652270410453}" dt="2021-12-07T23:56:18.263" v="1788" actId="14100"/>
          <ac:spMkLst>
            <pc:docMk/>
            <pc:sldMk cId="3734496598" sldId="2706"/>
            <ac:spMk id="120" creationId="{4FFC5BF5-63C8-43C0-9B51-05A0554F85F4}"/>
          </ac:spMkLst>
        </pc:spChg>
        <pc:spChg chg="add mod">
          <ac:chgData name="Jain, Shreyansh" userId="2845c589-ff3c-4dee-bf29-f4bc1a5e1ae1" providerId="ADAL" clId="{24281453-EFF9-4E20-9CC2-652270410453}" dt="2021-12-07T23:56:29.087" v="1799" actId="1038"/>
          <ac:spMkLst>
            <pc:docMk/>
            <pc:sldMk cId="3734496598" sldId="2706"/>
            <ac:spMk id="121" creationId="{A9E78826-6B60-4734-967D-4C3D5BA2E2C1}"/>
          </ac:spMkLst>
        </pc:spChg>
        <pc:spChg chg="add mod">
          <ac:chgData name="Jain, Shreyansh" userId="2845c589-ff3c-4dee-bf29-f4bc1a5e1ae1" providerId="ADAL" clId="{24281453-EFF9-4E20-9CC2-652270410453}" dt="2021-12-07T23:56:39.453" v="1805" actId="14100"/>
          <ac:spMkLst>
            <pc:docMk/>
            <pc:sldMk cId="3734496598" sldId="2706"/>
            <ac:spMk id="122" creationId="{BAE61534-2E6B-4949-9C54-ECC679663633}"/>
          </ac:spMkLst>
        </pc:spChg>
        <pc:spChg chg="add mod">
          <ac:chgData name="Jain, Shreyansh" userId="2845c589-ff3c-4dee-bf29-f4bc1a5e1ae1" providerId="ADAL" clId="{24281453-EFF9-4E20-9CC2-652270410453}" dt="2021-12-08T16:45:23.244" v="4114" actId="20577"/>
          <ac:spMkLst>
            <pc:docMk/>
            <pc:sldMk cId="3734496598" sldId="2706"/>
            <ac:spMk id="123" creationId="{0722AB56-9D27-438B-8CE7-1096973FF999}"/>
          </ac:spMkLst>
        </pc:spChg>
        <pc:spChg chg="add mod">
          <ac:chgData name="Jain, Shreyansh" userId="2845c589-ff3c-4dee-bf29-f4bc1a5e1ae1" providerId="ADAL" clId="{24281453-EFF9-4E20-9CC2-652270410453}" dt="2021-12-08T16:45:48.331" v="4130" actId="20577"/>
          <ac:spMkLst>
            <pc:docMk/>
            <pc:sldMk cId="3734496598" sldId="2706"/>
            <ac:spMk id="124" creationId="{81421612-D948-45B7-A876-8C9DFC6EABE0}"/>
          </ac:spMkLst>
        </pc:spChg>
        <pc:spChg chg="add mod">
          <ac:chgData name="Jain, Shreyansh" userId="2845c589-ff3c-4dee-bf29-f4bc1a5e1ae1" providerId="ADAL" clId="{24281453-EFF9-4E20-9CC2-652270410453}" dt="2021-12-08T16:45:36.804" v="4128" actId="20577"/>
          <ac:spMkLst>
            <pc:docMk/>
            <pc:sldMk cId="3734496598" sldId="2706"/>
            <ac:spMk id="125" creationId="{041F7293-D7C7-4851-8450-9D12CAF0F135}"/>
          </ac:spMkLst>
        </pc:spChg>
        <pc:spChg chg="add mod">
          <ac:chgData name="Jain, Shreyansh" userId="2845c589-ff3c-4dee-bf29-f4bc1a5e1ae1" providerId="ADAL" clId="{24281453-EFF9-4E20-9CC2-652270410453}" dt="2021-12-07T23:56:18.263" v="1788" actId="14100"/>
          <ac:spMkLst>
            <pc:docMk/>
            <pc:sldMk cId="3734496598" sldId="2706"/>
            <ac:spMk id="126" creationId="{319BBAA4-5F35-40F0-9D27-56E1696ACEB3}"/>
          </ac:spMkLst>
        </pc:spChg>
        <pc:spChg chg="add mod">
          <ac:chgData name="Jain, Shreyansh" userId="2845c589-ff3c-4dee-bf29-f4bc1a5e1ae1" providerId="ADAL" clId="{24281453-EFF9-4E20-9CC2-652270410453}" dt="2021-12-07T23:56:29.087" v="1799" actId="1038"/>
          <ac:spMkLst>
            <pc:docMk/>
            <pc:sldMk cId="3734496598" sldId="2706"/>
            <ac:spMk id="127" creationId="{24BEAEDC-1B48-4206-B4FA-5BB5490E82E1}"/>
          </ac:spMkLst>
        </pc:spChg>
        <pc:spChg chg="add mod">
          <ac:chgData name="Jain, Shreyansh" userId="2845c589-ff3c-4dee-bf29-f4bc1a5e1ae1" providerId="ADAL" clId="{24281453-EFF9-4E20-9CC2-652270410453}" dt="2021-12-07T23:56:39.453" v="1805" actId="14100"/>
          <ac:spMkLst>
            <pc:docMk/>
            <pc:sldMk cId="3734496598" sldId="2706"/>
            <ac:spMk id="128" creationId="{3393C950-999B-4B88-A849-327D11EE0899}"/>
          </ac:spMkLst>
        </pc:spChg>
        <pc:spChg chg="add mod">
          <ac:chgData name="Jain, Shreyansh" userId="2845c589-ff3c-4dee-bf29-f4bc1a5e1ae1" providerId="ADAL" clId="{24281453-EFF9-4E20-9CC2-652270410453}" dt="2021-12-07T23:56:18.263" v="1788" actId="14100"/>
          <ac:spMkLst>
            <pc:docMk/>
            <pc:sldMk cId="3734496598" sldId="2706"/>
            <ac:spMk id="129" creationId="{A57A64C0-A34F-4529-A630-75D3C82F5F2D}"/>
          </ac:spMkLst>
        </pc:spChg>
        <pc:spChg chg="add mod">
          <ac:chgData name="Jain, Shreyansh" userId="2845c589-ff3c-4dee-bf29-f4bc1a5e1ae1" providerId="ADAL" clId="{24281453-EFF9-4E20-9CC2-652270410453}" dt="2021-12-07T23:56:29.087" v="1799" actId="1038"/>
          <ac:spMkLst>
            <pc:docMk/>
            <pc:sldMk cId="3734496598" sldId="2706"/>
            <ac:spMk id="130" creationId="{B95026DE-DD33-4A3D-AC73-A52AE90A445B}"/>
          </ac:spMkLst>
        </pc:spChg>
        <pc:spChg chg="add mod">
          <ac:chgData name="Jain, Shreyansh" userId="2845c589-ff3c-4dee-bf29-f4bc1a5e1ae1" providerId="ADAL" clId="{24281453-EFF9-4E20-9CC2-652270410453}" dt="2021-12-07T23:56:39.453" v="1805" actId="14100"/>
          <ac:spMkLst>
            <pc:docMk/>
            <pc:sldMk cId="3734496598" sldId="2706"/>
            <ac:spMk id="131" creationId="{2C134FFD-9053-44B5-B4EC-70E30A459622}"/>
          </ac:spMkLst>
        </pc:spChg>
        <pc:grpChg chg="add del mod">
          <ac:chgData name="Jain, Shreyansh" userId="2845c589-ff3c-4dee-bf29-f4bc1a5e1ae1" providerId="ADAL" clId="{24281453-EFF9-4E20-9CC2-652270410453}" dt="2021-12-07T23:50:47.095" v="1646" actId="478"/>
          <ac:grpSpMkLst>
            <pc:docMk/>
            <pc:sldMk cId="3734496598" sldId="2706"/>
            <ac:grpSpMk id="56" creationId="{A6F40083-D4E8-4236-8812-876F0F1CE95E}"/>
          </ac:grpSpMkLst>
        </pc:grpChg>
        <pc:grpChg chg="add del mod">
          <ac:chgData name="Jain, Shreyansh" userId="2845c589-ff3c-4dee-bf29-f4bc1a5e1ae1" providerId="ADAL" clId="{24281453-EFF9-4E20-9CC2-652270410453}" dt="2021-12-07T23:48:35.699" v="1599" actId="478"/>
          <ac:grpSpMkLst>
            <pc:docMk/>
            <pc:sldMk cId="3734496598" sldId="2706"/>
            <ac:grpSpMk id="59" creationId="{8E4BF9BE-6850-4A9C-9873-E2DD7AFA6541}"/>
          </ac:grpSpMkLst>
        </pc:grpChg>
        <pc:grpChg chg="add del mod">
          <ac:chgData name="Jain, Shreyansh" userId="2845c589-ff3c-4dee-bf29-f4bc1a5e1ae1" providerId="ADAL" clId="{24281453-EFF9-4E20-9CC2-652270410453}" dt="2021-12-07T23:48:54.322" v="1604" actId="478"/>
          <ac:grpSpMkLst>
            <pc:docMk/>
            <pc:sldMk cId="3734496598" sldId="2706"/>
            <ac:grpSpMk id="62" creationId="{902F4064-D9B7-4262-AEF4-0D0D4067C971}"/>
          </ac:grpSpMkLst>
        </pc:grpChg>
        <pc:grpChg chg="add del mod">
          <ac:chgData name="Jain, Shreyansh" userId="2845c589-ff3c-4dee-bf29-f4bc1a5e1ae1" providerId="ADAL" clId="{24281453-EFF9-4E20-9CC2-652270410453}" dt="2021-12-07T23:50:53.984" v="1648" actId="478"/>
          <ac:grpSpMkLst>
            <pc:docMk/>
            <pc:sldMk cId="3734496598" sldId="2706"/>
            <ac:grpSpMk id="65" creationId="{AC34A6AC-B114-4A9D-8A0C-AFE03BB839CC}"/>
          </ac:grpSpMkLst>
        </pc:grpChg>
        <pc:grpChg chg="add del mod">
          <ac:chgData name="Jain, Shreyansh" userId="2845c589-ff3c-4dee-bf29-f4bc1a5e1ae1" providerId="ADAL" clId="{24281453-EFF9-4E20-9CC2-652270410453}" dt="2021-12-07T23:51:10.914" v="1653" actId="478"/>
          <ac:grpSpMkLst>
            <pc:docMk/>
            <pc:sldMk cId="3734496598" sldId="2706"/>
            <ac:grpSpMk id="68" creationId="{653FFEBF-4EB6-47A3-921F-F99B9F1F22B1}"/>
          </ac:grpSpMkLst>
        </pc:grpChg>
        <pc:grpChg chg="del mod">
          <ac:chgData name="Jain, Shreyansh" userId="2845c589-ff3c-4dee-bf29-f4bc1a5e1ae1" providerId="ADAL" clId="{24281453-EFF9-4E20-9CC2-652270410453}" dt="2021-12-07T23:44:05.245" v="1385" actId="478"/>
          <ac:grpSpMkLst>
            <pc:docMk/>
            <pc:sldMk cId="3734496598" sldId="2706"/>
            <ac:grpSpMk id="83" creationId="{340F3993-7F5E-4583-8041-C759D1E96E04}"/>
          </ac:grpSpMkLst>
        </pc:grpChg>
        <pc:grpChg chg="del">
          <ac:chgData name="Jain, Shreyansh" userId="2845c589-ff3c-4dee-bf29-f4bc1a5e1ae1" providerId="ADAL" clId="{24281453-EFF9-4E20-9CC2-652270410453}" dt="2021-12-07T23:44:05.245" v="1385" actId="478"/>
          <ac:grpSpMkLst>
            <pc:docMk/>
            <pc:sldMk cId="3734496598" sldId="2706"/>
            <ac:grpSpMk id="86" creationId="{7E68A4C3-F031-4262-9868-3A0FEB4D5BEE}"/>
          </ac:grpSpMkLst>
        </pc:grpChg>
        <pc:grpChg chg="del">
          <ac:chgData name="Jain, Shreyansh" userId="2845c589-ff3c-4dee-bf29-f4bc1a5e1ae1" providerId="ADAL" clId="{24281453-EFF9-4E20-9CC2-652270410453}" dt="2021-12-07T23:44:05.245" v="1385" actId="478"/>
          <ac:grpSpMkLst>
            <pc:docMk/>
            <pc:sldMk cId="3734496598" sldId="2706"/>
            <ac:grpSpMk id="89" creationId="{333B311F-E22C-4057-B8F2-660F9CFF3EE1}"/>
          </ac:grpSpMkLst>
        </pc:grpChg>
        <pc:grpChg chg="del">
          <ac:chgData name="Jain, Shreyansh" userId="2845c589-ff3c-4dee-bf29-f4bc1a5e1ae1" providerId="ADAL" clId="{24281453-EFF9-4E20-9CC2-652270410453}" dt="2021-12-07T23:44:05.245" v="1385" actId="478"/>
          <ac:grpSpMkLst>
            <pc:docMk/>
            <pc:sldMk cId="3734496598" sldId="2706"/>
            <ac:grpSpMk id="92" creationId="{A00FDBBA-CCBE-447A-A546-B5580366E4FB}"/>
          </ac:grpSpMkLst>
        </pc:grpChg>
        <pc:grpChg chg="del">
          <ac:chgData name="Jain, Shreyansh" userId="2845c589-ff3c-4dee-bf29-f4bc1a5e1ae1" providerId="ADAL" clId="{24281453-EFF9-4E20-9CC2-652270410453}" dt="2021-12-07T23:44:05.245" v="1385" actId="478"/>
          <ac:grpSpMkLst>
            <pc:docMk/>
            <pc:sldMk cId="3734496598" sldId="2706"/>
            <ac:grpSpMk id="95" creationId="{846363C5-5AF5-4DC6-A716-E093CBE0AE3F}"/>
          </ac:grpSpMkLst>
        </pc:grpChg>
        <pc:grpChg chg="del">
          <ac:chgData name="Jain, Shreyansh" userId="2845c589-ff3c-4dee-bf29-f4bc1a5e1ae1" providerId="ADAL" clId="{24281453-EFF9-4E20-9CC2-652270410453}" dt="2021-12-07T23:44:05.245" v="1385" actId="478"/>
          <ac:grpSpMkLst>
            <pc:docMk/>
            <pc:sldMk cId="3734496598" sldId="2706"/>
            <ac:grpSpMk id="98" creationId="{3419F0ED-6544-448E-974D-838151106CAC}"/>
          </ac:grpSpMkLst>
        </pc:grpChg>
        <pc:grpChg chg="del">
          <ac:chgData name="Jain, Shreyansh" userId="2845c589-ff3c-4dee-bf29-f4bc1a5e1ae1" providerId="ADAL" clId="{24281453-EFF9-4E20-9CC2-652270410453}" dt="2021-12-07T23:44:05.245" v="1385" actId="478"/>
          <ac:grpSpMkLst>
            <pc:docMk/>
            <pc:sldMk cId="3734496598" sldId="2706"/>
            <ac:grpSpMk id="101" creationId="{B546EDCF-F1C2-435E-9DE2-A8F77C3A6EA5}"/>
          </ac:grpSpMkLst>
        </pc:grpChg>
        <pc:grpChg chg="del">
          <ac:chgData name="Jain, Shreyansh" userId="2845c589-ff3c-4dee-bf29-f4bc1a5e1ae1" providerId="ADAL" clId="{24281453-EFF9-4E20-9CC2-652270410453}" dt="2021-12-07T23:44:05.245" v="1385" actId="478"/>
          <ac:grpSpMkLst>
            <pc:docMk/>
            <pc:sldMk cId="3734496598" sldId="2706"/>
            <ac:grpSpMk id="104" creationId="{AE880F82-512C-4A78-A6BC-8EB2A4696E3F}"/>
          </ac:grpSpMkLst>
        </pc:grpChg>
        <pc:grpChg chg="del">
          <ac:chgData name="Jain, Shreyansh" userId="2845c589-ff3c-4dee-bf29-f4bc1a5e1ae1" providerId="ADAL" clId="{24281453-EFF9-4E20-9CC2-652270410453}" dt="2021-12-07T23:44:05.245" v="1385" actId="478"/>
          <ac:grpSpMkLst>
            <pc:docMk/>
            <pc:sldMk cId="3734496598" sldId="2706"/>
            <ac:grpSpMk id="107" creationId="{4579EFAE-A6A8-4ED7-B320-06A02BE06F24}"/>
          </ac:grpSpMkLst>
        </pc:grpChg>
        <pc:grpChg chg="del">
          <ac:chgData name="Jain, Shreyansh" userId="2845c589-ff3c-4dee-bf29-f4bc1a5e1ae1" providerId="ADAL" clId="{24281453-EFF9-4E20-9CC2-652270410453}" dt="2021-12-07T23:44:05.245" v="1385" actId="478"/>
          <ac:grpSpMkLst>
            <pc:docMk/>
            <pc:sldMk cId="3734496598" sldId="2706"/>
            <ac:grpSpMk id="110" creationId="{0026F950-4812-4B82-9236-3AFB1542D8A9}"/>
          </ac:grpSpMkLst>
        </pc:grpChg>
        <pc:picChg chg="add mod">
          <ac:chgData name="Jain, Shreyansh" userId="2845c589-ff3c-4dee-bf29-f4bc1a5e1ae1" providerId="ADAL" clId="{24281453-EFF9-4E20-9CC2-652270410453}" dt="2021-12-08T01:03:52.534" v="2389" actId="1036"/>
          <ac:picMkLst>
            <pc:docMk/>
            <pc:sldMk cId="3734496598" sldId="2706"/>
            <ac:picMk id="4" creationId="{9932F097-6EB2-4F46-ADD2-3029754CC212}"/>
          </ac:picMkLst>
        </pc:picChg>
        <pc:picChg chg="mod">
          <ac:chgData name="Jain, Shreyansh" userId="2845c589-ff3c-4dee-bf29-f4bc1a5e1ae1" providerId="ADAL" clId="{24281453-EFF9-4E20-9CC2-652270410453}" dt="2021-12-08T02:35:59.408" v="3565" actId="1036"/>
          <ac:picMkLst>
            <pc:docMk/>
            <pc:sldMk cId="3734496598" sldId="2706"/>
            <ac:picMk id="9" creationId="{5332EAF7-AE65-4A4F-9B77-76A0D4B995CF}"/>
          </ac:picMkLst>
        </pc:picChg>
        <pc:picChg chg="del">
          <ac:chgData name="Jain, Shreyansh" userId="2845c589-ff3c-4dee-bf29-f4bc1a5e1ae1" providerId="ADAL" clId="{24281453-EFF9-4E20-9CC2-652270410453}" dt="2021-12-07T23:44:05.245" v="1385" actId="478"/>
          <ac:picMkLst>
            <pc:docMk/>
            <pc:sldMk cId="3734496598" sldId="2706"/>
            <ac:picMk id="24" creationId="{DEDF13D0-BCE8-4E95-8CF5-1AEEAE0DC229}"/>
          </ac:picMkLst>
        </pc:picChg>
        <pc:picChg chg="add mod">
          <ac:chgData name="Jain, Shreyansh" userId="2845c589-ff3c-4dee-bf29-f4bc1a5e1ae1" providerId="ADAL" clId="{24281453-EFF9-4E20-9CC2-652270410453}" dt="2021-12-08T00:58:52.735" v="2279" actId="1038"/>
          <ac:picMkLst>
            <pc:docMk/>
            <pc:sldMk cId="3734496598" sldId="2706"/>
            <ac:picMk id="41" creationId="{A0D72DDA-2E10-44E5-87A6-C3AB183B624D}"/>
          </ac:picMkLst>
        </pc:picChg>
        <pc:picChg chg="add del mod">
          <ac:chgData name="Jain, Shreyansh" userId="2845c589-ff3c-4dee-bf29-f4bc1a5e1ae1" providerId="ADAL" clId="{24281453-EFF9-4E20-9CC2-652270410453}" dt="2021-12-08T00:28:17.933" v="2118"/>
          <ac:picMkLst>
            <pc:docMk/>
            <pc:sldMk cId="3734496598" sldId="2706"/>
            <ac:picMk id="42" creationId="{3A1EC388-4EC8-4520-AE63-638CDCAFE339}"/>
          </ac:picMkLst>
        </pc:picChg>
        <pc:picChg chg="del">
          <ac:chgData name="Jain, Shreyansh" userId="2845c589-ff3c-4dee-bf29-f4bc1a5e1ae1" providerId="ADAL" clId="{24281453-EFF9-4E20-9CC2-652270410453}" dt="2021-12-07T23:44:05.245" v="1385" actId="478"/>
          <ac:picMkLst>
            <pc:docMk/>
            <pc:sldMk cId="3734496598" sldId="2706"/>
            <ac:picMk id="43" creationId="{FF96EE74-381D-48EB-AE87-FD5102330CE6}"/>
          </ac:picMkLst>
        </pc:picChg>
        <pc:picChg chg="mod">
          <ac:chgData name="Jain, Shreyansh" userId="2845c589-ff3c-4dee-bf29-f4bc1a5e1ae1" providerId="ADAL" clId="{24281453-EFF9-4E20-9CC2-652270410453}" dt="2021-12-08T02:35:58.797" v="3564" actId="1036"/>
          <ac:picMkLst>
            <pc:docMk/>
            <pc:sldMk cId="3734496598" sldId="2706"/>
            <ac:picMk id="49" creationId="{79E73F6F-4BB9-4949-B60F-7C52F38ECDA1}"/>
          </ac:picMkLst>
        </pc:picChg>
        <pc:picChg chg="del">
          <ac:chgData name="Jain, Shreyansh" userId="2845c589-ff3c-4dee-bf29-f4bc1a5e1ae1" providerId="ADAL" clId="{24281453-EFF9-4E20-9CC2-652270410453}" dt="2021-12-07T23:44:05.245" v="1385" actId="478"/>
          <ac:picMkLst>
            <pc:docMk/>
            <pc:sldMk cId="3734496598" sldId="2706"/>
            <ac:picMk id="51" creationId="{E005EC35-AAB9-42AC-8EF7-702DDB247ACC}"/>
          </ac:picMkLst>
        </pc:picChg>
        <pc:picChg chg="del mod">
          <ac:chgData name="Jain, Shreyansh" userId="2845c589-ff3c-4dee-bf29-f4bc1a5e1ae1" providerId="ADAL" clId="{24281453-EFF9-4E20-9CC2-652270410453}" dt="2021-12-07T23:50:47.095" v="1646" actId="478"/>
          <ac:picMkLst>
            <pc:docMk/>
            <pc:sldMk cId="3734496598" sldId="2706"/>
            <ac:picMk id="58" creationId="{53147248-A7B1-45B9-B247-E711577DA218}"/>
          </ac:picMkLst>
        </pc:picChg>
        <pc:picChg chg="del mod">
          <ac:chgData name="Jain, Shreyansh" userId="2845c589-ff3c-4dee-bf29-f4bc1a5e1ae1" providerId="ADAL" clId="{24281453-EFF9-4E20-9CC2-652270410453}" dt="2021-12-07T23:48:35.699" v="1599" actId="478"/>
          <ac:picMkLst>
            <pc:docMk/>
            <pc:sldMk cId="3734496598" sldId="2706"/>
            <ac:picMk id="61" creationId="{FC5D84C0-98B8-4634-910C-401BE24CEE32}"/>
          </ac:picMkLst>
        </pc:picChg>
        <pc:picChg chg="add del mod">
          <ac:chgData name="Jain, Shreyansh" userId="2845c589-ff3c-4dee-bf29-f4bc1a5e1ae1" providerId="ADAL" clId="{24281453-EFF9-4E20-9CC2-652270410453}" dt="2021-12-07T23:48:54.322" v="1604" actId="478"/>
          <ac:picMkLst>
            <pc:docMk/>
            <pc:sldMk cId="3734496598" sldId="2706"/>
            <ac:picMk id="64" creationId="{E09E45F9-0014-4423-A7C8-E3C2BCED617E}"/>
          </ac:picMkLst>
        </pc:picChg>
        <pc:picChg chg="del mod">
          <ac:chgData name="Jain, Shreyansh" userId="2845c589-ff3c-4dee-bf29-f4bc1a5e1ae1" providerId="ADAL" clId="{24281453-EFF9-4E20-9CC2-652270410453}" dt="2021-12-07T23:50:53.984" v="1648" actId="478"/>
          <ac:picMkLst>
            <pc:docMk/>
            <pc:sldMk cId="3734496598" sldId="2706"/>
            <ac:picMk id="67" creationId="{46D2E77B-DC5F-4C44-832C-C202058116D7}"/>
          </ac:picMkLst>
        </pc:picChg>
        <pc:picChg chg="del">
          <ac:chgData name="Jain, Shreyansh" userId="2845c589-ff3c-4dee-bf29-f4bc1a5e1ae1" providerId="ADAL" clId="{24281453-EFF9-4E20-9CC2-652270410453}" dt="2021-12-07T23:44:05.245" v="1385" actId="478"/>
          <ac:picMkLst>
            <pc:docMk/>
            <pc:sldMk cId="3734496598" sldId="2706"/>
            <ac:picMk id="71" creationId="{BBCBD34A-0F9A-450B-9B43-8DDB2931681E}"/>
          </ac:picMkLst>
        </pc:picChg>
        <pc:picChg chg="del">
          <ac:chgData name="Jain, Shreyansh" userId="2845c589-ff3c-4dee-bf29-f4bc1a5e1ae1" providerId="ADAL" clId="{24281453-EFF9-4E20-9CC2-652270410453}" dt="2021-12-07T23:44:05.245" v="1385" actId="478"/>
          <ac:picMkLst>
            <pc:docMk/>
            <pc:sldMk cId="3734496598" sldId="2706"/>
            <ac:picMk id="72" creationId="{9238F49B-9B00-4109-B561-C6F71606C8D6}"/>
          </ac:picMkLst>
        </pc:picChg>
        <pc:picChg chg="del mod">
          <ac:chgData name="Jain, Shreyansh" userId="2845c589-ff3c-4dee-bf29-f4bc1a5e1ae1" providerId="ADAL" clId="{24281453-EFF9-4E20-9CC2-652270410453}" dt="2021-12-07T23:51:10.914" v="1653" actId="478"/>
          <ac:picMkLst>
            <pc:docMk/>
            <pc:sldMk cId="3734496598" sldId="2706"/>
            <ac:picMk id="73" creationId="{219A16F5-25FF-430D-9662-9B397C154DCA}"/>
          </ac:picMkLst>
        </pc:picChg>
        <pc:picChg chg="del">
          <ac:chgData name="Jain, Shreyansh" userId="2845c589-ff3c-4dee-bf29-f4bc1a5e1ae1" providerId="ADAL" clId="{24281453-EFF9-4E20-9CC2-652270410453}" dt="2021-12-07T23:44:05.245" v="1385" actId="478"/>
          <ac:picMkLst>
            <pc:docMk/>
            <pc:sldMk cId="3734496598" sldId="2706"/>
            <ac:picMk id="74" creationId="{B6A03472-CBF8-4006-80F6-D27DE49B2688}"/>
          </ac:picMkLst>
        </pc:picChg>
        <pc:picChg chg="add mod">
          <ac:chgData name="Jain, Shreyansh" userId="2845c589-ff3c-4dee-bf29-f4bc1a5e1ae1" providerId="ADAL" clId="{24281453-EFF9-4E20-9CC2-652270410453}" dt="2021-12-08T00:58:52.735" v="2279" actId="1038"/>
          <ac:picMkLst>
            <pc:docMk/>
            <pc:sldMk cId="3734496598" sldId="2706"/>
            <ac:picMk id="75" creationId="{508033A2-4C21-44BE-9A1F-ADCF6B8D482B}"/>
          </ac:picMkLst>
        </pc:picChg>
        <pc:picChg chg="del">
          <ac:chgData name="Jain, Shreyansh" userId="2845c589-ff3c-4dee-bf29-f4bc1a5e1ae1" providerId="ADAL" clId="{24281453-EFF9-4E20-9CC2-652270410453}" dt="2021-12-07T23:44:05.245" v="1385" actId="478"/>
          <ac:picMkLst>
            <pc:docMk/>
            <pc:sldMk cId="3734496598" sldId="2706"/>
            <ac:picMk id="76" creationId="{BFF39CCD-DD32-46E0-96E9-E87A53F0016A}"/>
          </ac:picMkLst>
        </pc:picChg>
        <pc:picChg chg="add mod">
          <ac:chgData name="Jain, Shreyansh" userId="2845c589-ff3c-4dee-bf29-f4bc1a5e1ae1" providerId="ADAL" clId="{24281453-EFF9-4E20-9CC2-652270410453}" dt="2021-12-08T00:58:52.735" v="2279" actId="1038"/>
          <ac:picMkLst>
            <pc:docMk/>
            <pc:sldMk cId="3734496598" sldId="2706"/>
            <ac:picMk id="77" creationId="{DD97B3EC-C03E-41E8-B586-E8ADAA1E4FDA}"/>
          </ac:picMkLst>
        </pc:picChg>
        <pc:picChg chg="del">
          <ac:chgData name="Jain, Shreyansh" userId="2845c589-ff3c-4dee-bf29-f4bc1a5e1ae1" providerId="ADAL" clId="{24281453-EFF9-4E20-9CC2-652270410453}" dt="2021-12-07T23:44:05.245" v="1385" actId="478"/>
          <ac:picMkLst>
            <pc:docMk/>
            <pc:sldMk cId="3734496598" sldId="2706"/>
            <ac:picMk id="78" creationId="{5C6128CC-15E5-4C3E-A222-6FD1BBC2ED2F}"/>
          </ac:picMkLst>
        </pc:picChg>
        <pc:picChg chg="add mod">
          <ac:chgData name="Jain, Shreyansh" userId="2845c589-ff3c-4dee-bf29-f4bc1a5e1ae1" providerId="ADAL" clId="{24281453-EFF9-4E20-9CC2-652270410453}" dt="2021-12-08T00:58:52.735" v="2279" actId="1038"/>
          <ac:picMkLst>
            <pc:docMk/>
            <pc:sldMk cId="3734496598" sldId="2706"/>
            <ac:picMk id="79" creationId="{E1244C9E-39DD-453F-BC1E-D55E2E36233B}"/>
          </ac:picMkLst>
        </pc:picChg>
        <pc:picChg chg="del">
          <ac:chgData name="Jain, Shreyansh" userId="2845c589-ff3c-4dee-bf29-f4bc1a5e1ae1" providerId="ADAL" clId="{24281453-EFF9-4E20-9CC2-652270410453}" dt="2021-12-07T23:44:05.245" v="1385" actId="478"/>
          <ac:picMkLst>
            <pc:docMk/>
            <pc:sldMk cId="3734496598" sldId="2706"/>
            <ac:picMk id="80" creationId="{1EC0623C-2FB1-4D9C-A692-7C9286D397C9}"/>
          </ac:picMkLst>
        </pc:picChg>
        <pc:picChg chg="add mod">
          <ac:chgData name="Jain, Shreyansh" userId="2845c589-ff3c-4dee-bf29-f4bc1a5e1ae1" providerId="ADAL" clId="{24281453-EFF9-4E20-9CC2-652270410453}" dt="2021-12-08T00:58:52.735" v="2279" actId="1038"/>
          <ac:picMkLst>
            <pc:docMk/>
            <pc:sldMk cId="3734496598" sldId="2706"/>
            <ac:picMk id="81" creationId="{29A21259-09B0-4F6A-81EE-74A077D47858}"/>
          </ac:picMkLst>
        </pc:picChg>
        <pc:picChg chg="del">
          <ac:chgData name="Jain, Shreyansh" userId="2845c589-ff3c-4dee-bf29-f4bc1a5e1ae1" providerId="ADAL" clId="{24281453-EFF9-4E20-9CC2-652270410453}" dt="2021-12-07T23:44:05.245" v="1385" actId="478"/>
          <ac:picMkLst>
            <pc:docMk/>
            <pc:sldMk cId="3734496598" sldId="2706"/>
            <ac:picMk id="82" creationId="{01C26884-4E8B-4832-A2B3-7706AE1C45E5}"/>
          </ac:picMkLst>
        </pc:picChg>
        <pc:picChg chg="mod">
          <ac:chgData name="Jain, Shreyansh" userId="2845c589-ff3c-4dee-bf29-f4bc1a5e1ae1" providerId="ADAL" clId="{24281453-EFF9-4E20-9CC2-652270410453}" dt="2021-12-07T23:43:59.227" v="1384" actId="14100"/>
          <ac:picMkLst>
            <pc:docMk/>
            <pc:sldMk cId="3734496598" sldId="2706"/>
            <ac:picMk id="85" creationId="{876DB89A-E798-45EB-B091-7F798E2A5C05}"/>
          </ac:picMkLst>
        </pc:picChg>
        <pc:picChg chg="add mod">
          <ac:chgData name="Jain, Shreyansh" userId="2845c589-ff3c-4dee-bf29-f4bc1a5e1ae1" providerId="ADAL" clId="{24281453-EFF9-4E20-9CC2-652270410453}" dt="2021-12-08T00:58:52.735" v="2279" actId="1038"/>
          <ac:picMkLst>
            <pc:docMk/>
            <pc:sldMk cId="3734496598" sldId="2706"/>
            <ac:picMk id="113" creationId="{690A064D-FE67-4A35-B273-D418DB665BED}"/>
          </ac:picMkLst>
        </pc:picChg>
        <pc:cxnChg chg="add mod">
          <ac:chgData name="Jain, Shreyansh" userId="2845c589-ff3c-4dee-bf29-f4bc1a5e1ae1" providerId="ADAL" clId="{24281453-EFF9-4E20-9CC2-652270410453}" dt="2021-12-08T00:58:55.699" v="2288" actId="1038"/>
          <ac:cxnSpMkLst>
            <pc:docMk/>
            <pc:sldMk cId="3734496598" sldId="2706"/>
            <ac:cxnSpMk id="17" creationId="{BFFC67D7-2D13-445E-A834-5169E897C4FC}"/>
          </ac:cxnSpMkLst>
        </pc:cxnChg>
        <pc:cxnChg chg="add mod">
          <ac:chgData name="Jain, Shreyansh" userId="2845c589-ff3c-4dee-bf29-f4bc1a5e1ae1" providerId="ADAL" clId="{24281453-EFF9-4E20-9CC2-652270410453}" dt="2021-12-07T23:54:02.820" v="1705" actId="1076"/>
          <ac:cxnSpMkLst>
            <pc:docMk/>
            <pc:sldMk cId="3734496598" sldId="2706"/>
            <ac:cxnSpMk id="114" creationId="{065B84E0-31F4-4CE0-9BFA-B5B019CF4243}"/>
          </ac:cxnSpMkLst>
        </pc:cxnChg>
        <pc:cxnChg chg="add mod">
          <ac:chgData name="Jain, Shreyansh" userId="2845c589-ff3c-4dee-bf29-f4bc1a5e1ae1" providerId="ADAL" clId="{24281453-EFF9-4E20-9CC2-652270410453}" dt="2021-12-07T23:54:13.881" v="1722" actId="1038"/>
          <ac:cxnSpMkLst>
            <pc:docMk/>
            <pc:sldMk cId="3734496598" sldId="2706"/>
            <ac:cxnSpMk id="115" creationId="{E4F798A3-091E-46AA-A736-70E669702BA3}"/>
          </ac:cxnSpMkLst>
        </pc:cxnChg>
      </pc:sldChg>
      <pc:sldChg chg="addSp delSp modSp del mod">
        <pc:chgData name="Jain, Shreyansh" userId="2845c589-ff3c-4dee-bf29-f4bc1a5e1ae1" providerId="ADAL" clId="{24281453-EFF9-4E20-9CC2-652270410453}" dt="2021-12-08T00:54:43.002" v="2177" actId="47"/>
        <pc:sldMkLst>
          <pc:docMk/>
          <pc:sldMk cId="368601441" sldId="2707"/>
        </pc:sldMkLst>
        <pc:spChg chg="add mod">
          <ac:chgData name="Jain, Shreyansh" userId="2845c589-ff3c-4dee-bf29-f4bc1a5e1ae1" providerId="ADAL" clId="{24281453-EFF9-4E20-9CC2-652270410453}" dt="2021-12-08T00:54:27.090" v="2173" actId="21"/>
          <ac:spMkLst>
            <pc:docMk/>
            <pc:sldMk cId="368601441" sldId="2707"/>
            <ac:spMk id="5" creationId="{5A27EDEC-604D-451E-A8EA-2A1FFE335907}"/>
          </ac:spMkLst>
        </pc:spChg>
        <pc:picChg chg="del">
          <ac:chgData name="Jain, Shreyansh" userId="2845c589-ff3c-4dee-bf29-f4bc1a5e1ae1" providerId="ADAL" clId="{24281453-EFF9-4E20-9CC2-652270410453}" dt="2021-12-08T00:54:27.090" v="2173" actId="21"/>
          <ac:picMkLst>
            <pc:docMk/>
            <pc:sldMk cId="368601441" sldId="2707"/>
            <ac:picMk id="4" creationId="{A61C01D5-7276-401B-AC07-53A9CD212F34}"/>
          </ac:picMkLst>
        </pc:picChg>
      </pc:sldChg>
      <pc:sldChg chg="modSp del mod">
        <pc:chgData name="Jain, Shreyansh" userId="2845c589-ff3c-4dee-bf29-f4bc1a5e1ae1" providerId="ADAL" clId="{24281453-EFF9-4E20-9CC2-652270410453}" dt="2021-12-08T00:28:23.025" v="2120" actId="47"/>
        <pc:sldMkLst>
          <pc:docMk/>
          <pc:sldMk cId="3572193111" sldId="2707"/>
        </pc:sldMkLst>
        <pc:spChg chg="mod">
          <ac:chgData name="Jain, Shreyansh" userId="2845c589-ff3c-4dee-bf29-f4bc1a5e1ae1" providerId="ADAL" clId="{24281453-EFF9-4E20-9CC2-652270410453}" dt="2021-12-08T00:07:41.919" v="1837" actId="14100"/>
          <ac:spMkLst>
            <pc:docMk/>
            <pc:sldMk cId="3572193111" sldId="2707"/>
            <ac:spMk id="57" creationId="{413D94E8-A61C-40E2-B541-B332BDEBCCB6}"/>
          </ac:spMkLst>
        </pc:spChg>
      </pc:sldChg>
      <pc:sldChg chg="addSp delSp modSp add mod">
        <pc:chgData name="Jain, Shreyansh" userId="2845c589-ff3c-4dee-bf29-f4bc1a5e1ae1" providerId="ADAL" clId="{24281453-EFF9-4E20-9CC2-652270410453}" dt="2021-12-08T16:43:56.652" v="4090" actId="1035"/>
        <pc:sldMkLst>
          <pc:docMk/>
          <pc:sldMk cId="1556732082" sldId="2708"/>
        </pc:sldMkLst>
        <pc:spChg chg="add mod">
          <ac:chgData name="Jain, Shreyansh" userId="2845c589-ff3c-4dee-bf29-f4bc1a5e1ae1" providerId="ADAL" clId="{24281453-EFF9-4E20-9CC2-652270410453}" dt="2021-12-08T02:48:01.109" v="3595" actId="20577"/>
          <ac:spMkLst>
            <pc:docMk/>
            <pc:sldMk cId="1556732082" sldId="2708"/>
            <ac:spMk id="2" creationId="{74FECA68-23D4-4B42-9848-3115D44CB3C9}"/>
          </ac:spMkLst>
        </pc:spChg>
        <pc:spChg chg="add mod">
          <ac:chgData name="Jain, Shreyansh" userId="2845c589-ff3c-4dee-bf29-f4bc1a5e1ae1" providerId="ADAL" clId="{24281453-EFF9-4E20-9CC2-652270410453}" dt="2021-12-08T02:26:28.454" v="3390" actId="14100"/>
          <ac:spMkLst>
            <pc:docMk/>
            <pc:sldMk cId="1556732082" sldId="2708"/>
            <ac:spMk id="3" creationId="{80ACB22A-C4B7-4AE7-A236-7778665EB1A6}"/>
          </ac:spMkLst>
        </pc:spChg>
        <pc:spChg chg="mod">
          <ac:chgData name="Jain, Shreyansh" userId="2845c589-ff3c-4dee-bf29-f4bc1a5e1ae1" providerId="ADAL" clId="{24281453-EFF9-4E20-9CC2-652270410453}" dt="2021-12-08T16:43:56.652" v="4090" actId="1035"/>
          <ac:spMkLst>
            <pc:docMk/>
            <pc:sldMk cId="1556732082" sldId="2708"/>
            <ac:spMk id="7" creationId="{35C371CC-3336-41A3-BB34-6E2A0C172BE3}"/>
          </ac:spMkLst>
        </pc:spChg>
        <pc:spChg chg="add mod">
          <ac:chgData name="Jain, Shreyansh" userId="2845c589-ff3c-4dee-bf29-f4bc1a5e1ae1" providerId="ADAL" clId="{24281453-EFF9-4E20-9CC2-652270410453}" dt="2021-12-08T02:26:52.766" v="3434" actId="1035"/>
          <ac:spMkLst>
            <pc:docMk/>
            <pc:sldMk cId="1556732082" sldId="2708"/>
            <ac:spMk id="8" creationId="{F9CBA5CE-1959-4B22-A214-978D4DA4E90B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15" creationId="{5E920D8F-11A1-4692-BCC2-0C06C46C7138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20" creationId="{36531F54-ECC8-4697-A3E1-B957BC353732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37" creationId="{DE2FBB67-E34A-4BD8-9180-9D0DF72046D8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38" creationId="{8A537673-5469-44AC-9DE6-60E8EE136095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39" creationId="{A2E5C720-097B-4E45-B76E-FE8ED7DCE248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40" creationId="{5A299819-3D78-485B-8A67-3DE24BD00C67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57" creationId="{413D94E8-A61C-40E2-B541-B332BDEBCCB6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60" creationId="{EDAED089-E598-410E-84D2-7833384C5401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63" creationId="{13C6C20A-ED6E-4AB0-B32A-023F5A9C74B6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66" creationId="{BC55EF82-5F39-4FBE-9FB9-F71800FA3BB4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69" creationId="{ECEB6EB5-9841-4006-A6D2-0A3C75218D4A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116" creationId="{A3128561-A1B2-4687-8618-227359770898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117" creationId="{DD06631F-7809-40CB-B3FC-1ABF205F8572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118" creationId="{95FF522F-BEFF-41DD-91A4-746F3123B63B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119" creationId="{35A3E92B-CD5C-421A-90F4-89FE407B2469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120" creationId="{4FFC5BF5-63C8-43C0-9B51-05A0554F85F4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121" creationId="{A9E78826-6B60-4734-967D-4C3D5BA2E2C1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122" creationId="{BAE61534-2E6B-4949-9C54-ECC679663633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123" creationId="{0722AB56-9D27-438B-8CE7-1096973FF999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124" creationId="{81421612-D948-45B7-A876-8C9DFC6EABE0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125" creationId="{041F7293-D7C7-4851-8450-9D12CAF0F135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126" creationId="{319BBAA4-5F35-40F0-9D27-56E1696ACEB3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127" creationId="{24BEAEDC-1B48-4206-B4FA-5BB5490E82E1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128" creationId="{3393C950-999B-4B88-A849-327D11EE0899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129" creationId="{A57A64C0-A34F-4529-A630-75D3C82F5F2D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130" creationId="{B95026DE-DD33-4A3D-AC73-A52AE90A445B}"/>
          </ac:spMkLst>
        </pc:spChg>
        <pc:spChg chg="del">
          <ac:chgData name="Jain, Shreyansh" userId="2845c589-ff3c-4dee-bf29-f4bc1a5e1ae1" providerId="ADAL" clId="{24281453-EFF9-4E20-9CC2-652270410453}" dt="2021-12-08T00:54:30.985" v="2174" actId="478"/>
          <ac:spMkLst>
            <pc:docMk/>
            <pc:sldMk cId="1556732082" sldId="2708"/>
            <ac:spMk id="131" creationId="{2C134FFD-9053-44B5-B4EC-70E30A459622}"/>
          </ac:spMkLst>
        </pc:spChg>
        <pc:picChg chg="del mod">
          <ac:chgData name="Jain, Shreyansh" userId="2845c589-ff3c-4dee-bf29-f4bc1a5e1ae1" providerId="ADAL" clId="{24281453-EFF9-4E20-9CC2-652270410453}" dt="2021-12-08T02:47:00.467" v="3583" actId="478"/>
          <ac:picMkLst>
            <pc:docMk/>
            <pc:sldMk cId="1556732082" sldId="2708"/>
            <ac:picMk id="4" creationId="{9E37D4E3-5500-45A7-B554-2B214AC233D8}"/>
          </ac:picMkLst>
        </pc:picChg>
        <pc:picChg chg="mod">
          <ac:chgData name="Jain, Shreyansh" userId="2845c589-ff3c-4dee-bf29-f4bc1a5e1ae1" providerId="ADAL" clId="{24281453-EFF9-4E20-9CC2-652270410453}" dt="2021-12-08T02:48:05.091" v="3606" actId="1036"/>
          <ac:picMkLst>
            <pc:docMk/>
            <pc:sldMk cId="1556732082" sldId="2708"/>
            <ac:picMk id="9" creationId="{40951BDF-C3B8-4FF0-861F-89852BBD5821}"/>
          </ac:picMkLst>
        </pc:picChg>
        <pc:picChg chg="del">
          <ac:chgData name="Jain, Shreyansh" userId="2845c589-ff3c-4dee-bf29-f4bc1a5e1ae1" providerId="ADAL" clId="{24281453-EFF9-4E20-9CC2-652270410453}" dt="2021-12-08T00:54:30.985" v="2174" actId="478"/>
          <ac:picMkLst>
            <pc:docMk/>
            <pc:sldMk cId="1556732082" sldId="2708"/>
            <ac:picMk id="41" creationId="{A0D72DDA-2E10-44E5-87A6-C3AB183B624D}"/>
          </ac:picMkLst>
        </pc:picChg>
        <pc:picChg chg="add mod">
          <ac:chgData name="Jain, Shreyansh" userId="2845c589-ff3c-4dee-bf29-f4bc1a5e1ae1" providerId="ADAL" clId="{24281453-EFF9-4E20-9CC2-652270410453}" dt="2021-12-08T00:55:02.932" v="2178" actId="1076"/>
          <ac:picMkLst>
            <pc:docMk/>
            <pc:sldMk cId="1556732082" sldId="2708"/>
            <ac:picMk id="42" creationId="{5CBCF109-2F4F-4A8A-9895-F3607C99926E}"/>
          </ac:picMkLst>
        </pc:picChg>
        <pc:picChg chg="del">
          <ac:chgData name="Jain, Shreyansh" userId="2845c589-ff3c-4dee-bf29-f4bc1a5e1ae1" providerId="ADAL" clId="{24281453-EFF9-4E20-9CC2-652270410453}" dt="2021-12-08T00:54:30.985" v="2174" actId="478"/>
          <ac:picMkLst>
            <pc:docMk/>
            <pc:sldMk cId="1556732082" sldId="2708"/>
            <ac:picMk id="75" creationId="{508033A2-4C21-44BE-9A1F-ADCF6B8D482B}"/>
          </ac:picMkLst>
        </pc:picChg>
        <pc:picChg chg="del">
          <ac:chgData name="Jain, Shreyansh" userId="2845c589-ff3c-4dee-bf29-f4bc1a5e1ae1" providerId="ADAL" clId="{24281453-EFF9-4E20-9CC2-652270410453}" dt="2021-12-08T00:54:30.985" v="2174" actId="478"/>
          <ac:picMkLst>
            <pc:docMk/>
            <pc:sldMk cId="1556732082" sldId="2708"/>
            <ac:picMk id="77" creationId="{DD97B3EC-C03E-41E8-B586-E8ADAA1E4FDA}"/>
          </ac:picMkLst>
        </pc:picChg>
        <pc:picChg chg="del">
          <ac:chgData name="Jain, Shreyansh" userId="2845c589-ff3c-4dee-bf29-f4bc1a5e1ae1" providerId="ADAL" clId="{24281453-EFF9-4E20-9CC2-652270410453}" dt="2021-12-08T00:54:30.985" v="2174" actId="478"/>
          <ac:picMkLst>
            <pc:docMk/>
            <pc:sldMk cId="1556732082" sldId="2708"/>
            <ac:picMk id="79" creationId="{E1244C9E-39DD-453F-BC1E-D55E2E36233B}"/>
          </ac:picMkLst>
        </pc:picChg>
        <pc:picChg chg="del">
          <ac:chgData name="Jain, Shreyansh" userId="2845c589-ff3c-4dee-bf29-f4bc1a5e1ae1" providerId="ADAL" clId="{24281453-EFF9-4E20-9CC2-652270410453}" dt="2021-12-08T00:54:30.985" v="2174" actId="478"/>
          <ac:picMkLst>
            <pc:docMk/>
            <pc:sldMk cId="1556732082" sldId="2708"/>
            <ac:picMk id="81" creationId="{29A21259-09B0-4F6A-81EE-74A077D47858}"/>
          </ac:picMkLst>
        </pc:picChg>
        <pc:picChg chg="del">
          <ac:chgData name="Jain, Shreyansh" userId="2845c589-ff3c-4dee-bf29-f4bc1a5e1ae1" providerId="ADAL" clId="{24281453-EFF9-4E20-9CC2-652270410453}" dt="2021-12-08T00:54:30.985" v="2174" actId="478"/>
          <ac:picMkLst>
            <pc:docMk/>
            <pc:sldMk cId="1556732082" sldId="2708"/>
            <ac:picMk id="113" creationId="{690A064D-FE67-4A35-B273-D418DB665BED}"/>
          </ac:picMkLst>
        </pc:picChg>
        <pc:cxnChg chg="del">
          <ac:chgData name="Jain, Shreyansh" userId="2845c589-ff3c-4dee-bf29-f4bc1a5e1ae1" providerId="ADAL" clId="{24281453-EFF9-4E20-9CC2-652270410453}" dt="2021-12-08T00:54:30.985" v="2174" actId="478"/>
          <ac:cxnSpMkLst>
            <pc:docMk/>
            <pc:sldMk cId="1556732082" sldId="2708"/>
            <ac:cxnSpMk id="17" creationId="{BFFC67D7-2D13-445E-A834-5169E897C4FC}"/>
          </ac:cxnSpMkLst>
        </pc:cxnChg>
        <pc:cxnChg chg="del">
          <ac:chgData name="Jain, Shreyansh" userId="2845c589-ff3c-4dee-bf29-f4bc1a5e1ae1" providerId="ADAL" clId="{24281453-EFF9-4E20-9CC2-652270410453}" dt="2021-12-08T00:54:30.985" v="2174" actId="478"/>
          <ac:cxnSpMkLst>
            <pc:docMk/>
            <pc:sldMk cId="1556732082" sldId="2708"/>
            <ac:cxnSpMk id="114" creationId="{065B84E0-31F4-4CE0-9BFA-B5B019CF4243}"/>
          </ac:cxnSpMkLst>
        </pc:cxnChg>
        <pc:cxnChg chg="del">
          <ac:chgData name="Jain, Shreyansh" userId="2845c589-ff3c-4dee-bf29-f4bc1a5e1ae1" providerId="ADAL" clId="{24281453-EFF9-4E20-9CC2-652270410453}" dt="2021-12-08T00:54:30.985" v="2174" actId="478"/>
          <ac:cxnSpMkLst>
            <pc:docMk/>
            <pc:sldMk cId="1556732082" sldId="2708"/>
            <ac:cxnSpMk id="115" creationId="{E4F798A3-091E-46AA-A736-70E669702BA3}"/>
          </ac:cxnSpMkLst>
        </pc:cxnChg>
      </pc:sldChg>
      <pc:sldChg chg="modSp add mod">
        <pc:chgData name="Jain, Shreyansh" userId="2845c589-ff3c-4dee-bf29-f4bc1a5e1ae1" providerId="ADAL" clId="{24281453-EFF9-4E20-9CC2-652270410453}" dt="2021-12-08T00:28:29.373" v="2134" actId="20577"/>
        <pc:sldMkLst>
          <pc:docMk/>
          <pc:sldMk cId="2709579590" sldId="2708"/>
        </pc:sldMkLst>
        <pc:spChg chg="mod">
          <ac:chgData name="Jain, Shreyansh" userId="2845c589-ff3c-4dee-bf29-f4bc1a5e1ae1" providerId="ADAL" clId="{24281453-EFF9-4E20-9CC2-652270410453}" dt="2021-12-08T00:28:29.373" v="2134" actId="20577"/>
          <ac:spMkLst>
            <pc:docMk/>
            <pc:sldMk cId="2709579590" sldId="2708"/>
            <ac:spMk id="7" creationId="{35C371CC-3336-41A3-BB34-6E2A0C172BE3}"/>
          </ac:spMkLst>
        </pc:spChg>
      </pc:sldChg>
      <pc:sldChg chg="delSp modSp add mod">
        <pc:chgData name="Jain, Shreyansh" userId="2845c589-ff3c-4dee-bf29-f4bc1a5e1ae1" providerId="ADAL" clId="{24281453-EFF9-4E20-9CC2-652270410453}" dt="2021-12-08T16:43:48.688" v="4087" actId="478"/>
        <pc:sldMkLst>
          <pc:docMk/>
          <pc:sldMk cId="2710869164" sldId="2709"/>
        </pc:sldMkLst>
        <pc:spChg chg="del">
          <ac:chgData name="Jain, Shreyansh" userId="2845c589-ff3c-4dee-bf29-f4bc1a5e1ae1" providerId="ADAL" clId="{24281453-EFF9-4E20-9CC2-652270410453}" dt="2021-12-08T16:43:48.688" v="4087" actId="478"/>
          <ac:spMkLst>
            <pc:docMk/>
            <pc:sldMk cId="2710869164" sldId="2709"/>
            <ac:spMk id="23" creationId="{050055D8-B216-43D3-B844-16C232E67075}"/>
          </ac:spMkLst>
        </pc:spChg>
        <pc:spChg chg="mod">
          <ac:chgData name="Jain, Shreyansh" userId="2845c589-ff3c-4dee-bf29-f4bc1a5e1ae1" providerId="ADAL" clId="{24281453-EFF9-4E20-9CC2-652270410453}" dt="2021-12-08T02:50:33.525" v="3646" actId="20577"/>
          <ac:spMkLst>
            <pc:docMk/>
            <pc:sldMk cId="2710869164" sldId="2709"/>
            <ac:spMk id="30" creationId="{490D244C-C74F-48CA-8CD8-300153C369C9}"/>
          </ac:spMkLst>
        </pc:spChg>
        <pc:spChg chg="mod">
          <ac:chgData name="Jain, Shreyansh" userId="2845c589-ff3c-4dee-bf29-f4bc1a5e1ae1" providerId="ADAL" clId="{24281453-EFF9-4E20-9CC2-652270410453}" dt="2021-12-08T00:57:23.961" v="2232" actId="207"/>
          <ac:spMkLst>
            <pc:docMk/>
            <pc:sldMk cId="2710869164" sldId="2709"/>
            <ac:spMk id="40" creationId="{4E70B1D2-1E63-4A66-9CFB-89BAA56515BB}"/>
          </ac:spMkLst>
        </pc:spChg>
        <pc:spChg chg="mod">
          <ac:chgData name="Jain, Shreyansh" userId="2845c589-ff3c-4dee-bf29-f4bc1a5e1ae1" providerId="ADAL" clId="{24281453-EFF9-4E20-9CC2-652270410453}" dt="2021-12-08T00:57:19.556" v="2231" actId="207"/>
          <ac:spMkLst>
            <pc:docMk/>
            <pc:sldMk cId="2710869164" sldId="2709"/>
            <ac:spMk id="48" creationId="{D4FF8C64-F2B9-4A75-8D07-82D01BAE4A55}"/>
          </ac:spMkLst>
        </pc:spChg>
      </pc:sldChg>
      <pc:sldChg chg="addSp delSp modSp add mod ord modAnim">
        <pc:chgData name="Jain, Shreyansh" userId="2845c589-ff3c-4dee-bf29-f4bc1a5e1ae1" providerId="ADAL" clId="{24281453-EFF9-4E20-9CC2-652270410453}" dt="2021-12-08T03:12:19.742" v="3994" actId="1035"/>
        <pc:sldMkLst>
          <pc:docMk/>
          <pc:sldMk cId="2505177372" sldId="2710"/>
        </pc:sldMkLst>
        <pc:spChg chg="add mod">
          <ac:chgData name="Jain, Shreyansh" userId="2845c589-ff3c-4dee-bf29-f4bc1a5e1ae1" providerId="ADAL" clId="{24281453-EFF9-4E20-9CC2-652270410453}" dt="2021-12-08T02:02:26.110" v="2882" actId="164"/>
          <ac:spMkLst>
            <pc:docMk/>
            <pc:sldMk cId="2505177372" sldId="2710"/>
            <ac:spMk id="4" creationId="{2657C7CD-E878-49B1-95D3-3C58E1F5B514}"/>
          </ac:spMkLst>
        </pc:spChg>
        <pc:spChg chg="del">
          <ac:chgData name="Jain, Shreyansh" userId="2845c589-ff3c-4dee-bf29-f4bc1a5e1ae1" providerId="ADAL" clId="{24281453-EFF9-4E20-9CC2-652270410453}" dt="2021-12-08T01:35:49.791" v="2652" actId="478"/>
          <ac:spMkLst>
            <pc:docMk/>
            <pc:sldMk cId="2505177372" sldId="2710"/>
            <ac:spMk id="8" creationId="{16A2F97A-6831-4D6F-97A1-8E79CE6AAF5F}"/>
          </ac:spMkLst>
        </pc:spChg>
        <pc:spChg chg="add del mod">
          <ac:chgData name="Jain, Shreyansh" userId="2845c589-ff3c-4dee-bf29-f4bc1a5e1ae1" providerId="ADAL" clId="{24281453-EFF9-4E20-9CC2-652270410453}" dt="2021-12-08T01:44:28.248" v="2706" actId="478"/>
          <ac:spMkLst>
            <pc:docMk/>
            <pc:sldMk cId="2505177372" sldId="2710"/>
            <ac:spMk id="15" creationId="{AFFC4E1F-E813-486F-85DF-79EEB2ADAEC8}"/>
          </ac:spMkLst>
        </pc:spChg>
        <pc:spChg chg="add del mod">
          <ac:chgData name="Jain, Shreyansh" userId="2845c589-ff3c-4dee-bf29-f4bc1a5e1ae1" providerId="ADAL" clId="{24281453-EFF9-4E20-9CC2-652270410453}" dt="2021-12-08T01:44:16.126" v="2705" actId="478"/>
          <ac:spMkLst>
            <pc:docMk/>
            <pc:sldMk cId="2505177372" sldId="2710"/>
            <ac:spMk id="16" creationId="{FE878CD6-A17E-4F3A-B866-C714FBB72CB8}"/>
          </ac:spMkLst>
        </pc:spChg>
        <pc:spChg chg="add mod">
          <ac:chgData name="Jain, Shreyansh" userId="2845c589-ff3c-4dee-bf29-f4bc1a5e1ae1" providerId="ADAL" clId="{24281453-EFF9-4E20-9CC2-652270410453}" dt="2021-12-08T01:40:06.776" v="2689"/>
          <ac:spMkLst>
            <pc:docMk/>
            <pc:sldMk cId="2505177372" sldId="2710"/>
            <ac:spMk id="17" creationId="{84C249BD-3D58-4DA7-B68B-F83607442C89}"/>
          </ac:spMkLst>
        </pc:spChg>
        <pc:spChg chg="del">
          <ac:chgData name="Jain, Shreyansh" userId="2845c589-ff3c-4dee-bf29-f4bc1a5e1ae1" providerId="ADAL" clId="{24281453-EFF9-4E20-9CC2-652270410453}" dt="2021-12-08T01:35:49.791" v="2652" actId="478"/>
          <ac:spMkLst>
            <pc:docMk/>
            <pc:sldMk cId="2505177372" sldId="2710"/>
            <ac:spMk id="18" creationId="{8005023D-783C-4953-AE47-CC81169813CA}"/>
          </ac:spMkLst>
        </pc:spChg>
        <pc:spChg chg="del">
          <ac:chgData name="Jain, Shreyansh" userId="2845c589-ff3c-4dee-bf29-f4bc1a5e1ae1" providerId="ADAL" clId="{24281453-EFF9-4E20-9CC2-652270410453}" dt="2021-12-08T01:35:49.791" v="2652" actId="478"/>
          <ac:spMkLst>
            <pc:docMk/>
            <pc:sldMk cId="2505177372" sldId="2710"/>
            <ac:spMk id="19" creationId="{84D26BC4-038F-4F0E-8D81-34459332FDDD}"/>
          </ac:spMkLst>
        </pc:spChg>
        <pc:spChg chg="del">
          <ac:chgData name="Jain, Shreyansh" userId="2845c589-ff3c-4dee-bf29-f4bc1a5e1ae1" providerId="ADAL" clId="{24281453-EFF9-4E20-9CC2-652270410453}" dt="2021-12-08T01:35:49.791" v="2652" actId="478"/>
          <ac:spMkLst>
            <pc:docMk/>
            <pc:sldMk cId="2505177372" sldId="2710"/>
            <ac:spMk id="21" creationId="{4DE4953F-38C1-4EC4-9EFE-8D2FDE47085D}"/>
          </ac:spMkLst>
        </pc:spChg>
        <pc:spChg chg="del">
          <ac:chgData name="Jain, Shreyansh" userId="2845c589-ff3c-4dee-bf29-f4bc1a5e1ae1" providerId="ADAL" clId="{24281453-EFF9-4E20-9CC2-652270410453}" dt="2021-12-08T01:35:49.791" v="2652" actId="478"/>
          <ac:spMkLst>
            <pc:docMk/>
            <pc:sldMk cId="2505177372" sldId="2710"/>
            <ac:spMk id="22" creationId="{FD242A3F-9241-47BC-9E1E-46D51C9ABA41}"/>
          </ac:spMkLst>
        </pc:spChg>
        <pc:spChg chg="del">
          <ac:chgData name="Jain, Shreyansh" userId="2845c589-ff3c-4dee-bf29-f4bc1a5e1ae1" providerId="ADAL" clId="{24281453-EFF9-4E20-9CC2-652270410453}" dt="2021-12-08T01:35:49.791" v="2652" actId="478"/>
          <ac:spMkLst>
            <pc:docMk/>
            <pc:sldMk cId="2505177372" sldId="2710"/>
            <ac:spMk id="23" creationId="{24503638-F60A-47B4-BC15-C6A0BC6ED34E}"/>
          </ac:spMkLst>
        </pc:spChg>
        <pc:spChg chg="del">
          <ac:chgData name="Jain, Shreyansh" userId="2845c589-ff3c-4dee-bf29-f4bc1a5e1ae1" providerId="ADAL" clId="{24281453-EFF9-4E20-9CC2-652270410453}" dt="2021-12-08T01:35:49.791" v="2652" actId="478"/>
          <ac:spMkLst>
            <pc:docMk/>
            <pc:sldMk cId="2505177372" sldId="2710"/>
            <ac:spMk id="24" creationId="{C6CAD4EF-42C3-4B96-A45D-30226CD57D6A}"/>
          </ac:spMkLst>
        </pc:spChg>
        <pc:spChg chg="add mod">
          <ac:chgData name="Jain, Shreyansh" userId="2845c589-ff3c-4dee-bf29-f4bc1a5e1ae1" providerId="ADAL" clId="{24281453-EFF9-4E20-9CC2-652270410453}" dt="2021-12-08T02:02:26.110" v="2882" actId="164"/>
          <ac:spMkLst>
            <pc:docMk/>
            <pc:sldMk cId="2505177372" sldId="2710"/>
            <ac:spMk id="25" creationId="{06FDFA5E-C60D-4146-958D-4FCEE2DF7A4A}"/>
          </ac:spMkLst>
        </pc:spChg>
        <pc:spChg chg="del">
          <ac:chgData name="Jain, Shreyansh" userId="2845c589-ff3c-4dee-bf29-f4bc1a5e1ae1" providerId="ADAL" clId="{24281453-EFF9-4E20-9CC2-652270410453}" dt="2021-12-08T01:43:04.035" v="2693" actId="478"/>
          <ac:spMkLst>
            <pc:docMk/>
            <pc:sldMk cId="2505177372" sldId="2710"/>
            <ac:spMk id="33" creationId="{36EA1BBF-98EF-4F60-BFA7-005836F93CDA}"/>
          </ac:spMkLst>
        </pc:spChg>
        <pc:grpChg chg="add mod">
          <ac:chgData name="Jain, Shreyansh" userId="2845c589-ff3c-4dee-bf29-f4bc1a5e1ae1" providerId="ADAL" clId="{24281453-EFF9-4E20-9CC2-652270410453}" dt="2021-12-08T03:12:08.630" v="3968" actId="1035"/>
          <ac:grpSpMkLst>
            <pc:docMk/>
            <pc:sldMk cId="2505177372" sldId="2710"/>
            <ac:grpSpMk id="7" creationId="{AE870C66-07A0-409B-B22B-03AE66B60844}"/>
          </ac:grpSpMkLst>
        </pc:grpChg>
        <pc:picChg chg="add del mod">
          <ac:chgData name="Jain, Shreyansh" userId="2845c589-ff3c-4dee-bf29-f4bc1a5e1ae1" providerId="ADAL" clId="{24281453-EFF9-4E20-9CC2-652270410453}" dt="2021-12-08T03:11:02.588" v="3924" actId="478"/>
          <ac:picMkLst>
            <pc:docMk/>
            <pc:sldMk cId="2505177372" sldId="2710"/>
            <ac:picMk id="2" creationId="{358CD215-0F31-46FA-9F8D-1D3C3177DB6C}"/>
          </ac:picMkLst>
        </pc:picChg>
        <pc:picChg chg="add mod">
          <ac:chgData name="Jain, Shreyansh" userId="2845c589-ff3c-4dee-bf29-f4bc1a5e1ae1" providerId="ADAL" clId="{24281453-EFF9-4E20-9CC2-652270410453}" dt="2021-12-08T02:02:26.110" v="2882" actId="164"/>
          <ac:picMkLst>
            <pc:docMk/>
            <pc:sldMk cId="2505177372" sldId="2710"/>
            <ac:picMk id="3" creationId="{DEA729AD-A515-4781-8426-34C8F994E700}"/>
          </ac:picMkLst>
        </pc:picChg>
        <pc:picChg chg="add mod">
          <ac:chgData name="Jain, Shreyansh" userId="2845c589-ff3c-4dee-bf29-f4bc1a5e1ae1" providerId="ADAL" clId="{24281453-EFF9-4E20-9CC2-652270410453}" dt="2021-12-08T02:02:26.110" v="2882" actId="164"/>
          <ac:picMkLst>
            <pc:docMk/>
            <pc:sldMk cId="2505177372" sldId="2710"/>
            <ac:picMk id="6" creationId="{C9DD12AB-1F25-4F26-A34B-96ADCE096B9D}"/>
          </ac:picMkLst>
        </pc:picChg>
        <pc:picChg chg="add del mod">
          <ac:chgData name="Jain, Shreyansh" userId="2845c589-ff3c-4dee-bf29-f4bc1a5e1ae1" providerId="ADAL" clId="{24281453-EFF9-4E20-9CC2-652270410453}" dt="2021-12-08T03:07:47.646" v="3923" actId="478"/>
          <ac:picMkLst>
            <pc:docMk/>
            <pc:sldMk cId="2505177372" sldId="2710"/>
            <ac:picMk id="8" creationId="{E69D5CF3-7E37-4466-98E9-429D99D78A02}"/>
          </ac:picMkLst>
        </pc:picChg>
        <pc:picChg chg="del">
          <ac:chgData name="Jain, Shreyansh" userId="2845c589-ff3c-4dee-bf29-f4bc1a5e1ae1" providerId="ADAL" clId="{24281453-EFF9-4E20-9CC2-652270410453}" dt="2021-12-08T01:35:49.791" v="2652" actId="478"/>
          <ac:picMkLst>
            <pc:docMk/>
            <pc:sldMk cId="2505177372" sldId="2710"/>
            <ac:picMk id="10" creationId="{7990E826-32D3-4D86-B373-6710D467E42B}"/>
          </ac:picMkLst>
        </pc:picChg>
        <pc:picChg chg="add mod">
          <ac:chgData name="Jain, Shreyansh" userId="2845c589-ff3c-4dee-bf29-f4bc1a5e1ae1" providerId="ADAL" clId="{24281453-EFF9-4E20-9CC2-652270410453}" dt="2021-12-08T03:12:19.742" v="3994" actId="1035"/>
          <ac:picMkLst>
            <pc:docMk/>
            <pc:sldMk cId="2505177372" sldId="2710"/>
            <ac:picMk id="10" creationId="{D1980E2C-FA52-4988-803B-E78D306E7F81}"/>
          </ac:picMkLst>
        </pc:picChg>
        <pc:picChg chg="add del mod">
          <ac:chgData name="Jain, Shreyansh" userId="2845c589-ff3c-4dee-bf29-f4bc1a5e1ae1" providerId="ADAL" clId="{24281453-EFF9-4E20-9CC2-652270410453}" dt="2021-12-08T03:11:27.458" v="3929" actId="478"/>
          <ac:picMkLst>
            <pc:docMk/>
            <pc:sldMk cId="2505177372" sldId="2710"/>
            <ac:picMk id="15362" creationId="{F9825FEE-6B3A-431A-813F-59769F910FAD}"/>
          </ac:picMkLst>
        </pc:picChg>
        <pc:cxnChg chg="del">
          <ac:chgData name="Jain, Shreyansh" userId="2845c589-ff3c-4dee-bf29-f4bc1a5e1ae1" providerId="ADAL" clId="{24281453-EFF9-4E20-9CC2-652270410453}" dt="2021-12-08T01:35:49.791" v="2652" actId="478"/>
          <ac:cxnSpMkLst>
            <pc:docMk/>
            <pc:sldMk cId="2505177372" sldId="2710"/>
            <ac:cxnSpMk id="12" creationId="{0F63171B-9EF3-420B-BE5F-B9055A6408D4}"/>
          </ac:cxnSpMkLst>
        </pc:cxnChg>
        <pc:cxnChg chg="del">
          <ac:chgData name="Jain, Shreyansh" userId="2845c589-ff3c-4dee-bf29-f4bc1a5e1ae1" providerId="ADAL" clId="{24281453-EFF9-4E20-9CC2-652270410453}" dt="2021-12-08T01:35:49.791" v="2652" actId="478"/>
          <ac:cxnSpMkLst>
            <pc:docMk/>
            <pc:sldMk cId="2505177372" sldId="2710"/>
            <ac:cxnSpMk id="13" creationId="{4B502CF0-1112-40B6-B5ED-A480075E60EE}"/>
          </ac:cxnSpMkLst>
        </pc:cxnChg>
      </pc:sldChg>
      <pc:sldChg chg="delSp modSp add mod">
        <pc:chgData name="Jain, Shreyansh" userId="2845c589-ff3c-4dee-bf29-f4bc1a5e1ae1" providerId="ADAL" clId="{24281453-EFF9-4E20-9CC2-652270410453}" dt="2021-12-08T16:43:45.524" v="4086" actId="478"/>
        <pc:sldMkLst>
          <pc:docMk/>
          <pc:sldMk cId="828544820" sldId="2711"/>
        </pc:sldMkLst>
        <pc:spChg chg="del">
          <ac:chgData name="Jain, Shreyansh" userId="2845c589-ff3c-4dee-bf29-f4bc1a5e1ae1" providerId="ADAL" clId="{24281453-EFF9-4E20-9CC2-652270410453}" dt="2021-12-08T16:43:45.524" v="4086" actId="478"/>
          <ac:spMkLst>
            <pc:docMk/>
            <pc:sldMk cId="828544820" sldId="2711"/>
            <ac:spMk id="23" creationId="{050055D8-B216-43D3-B844-16C232E67075}"/>
          </ac:spMkLst>
        </pc:spChg>
        <pc:spChg chg="mod">
          <ac:chgData name="Jain, Shreyansh" userId="2845c589-ff3c-4dee-bf29-f4bc1a5e1ae1" providerId="ADAL" clId="{24281453-EFF9-4E20-9CC2-652270410453}" dt="2021-12-08T02:50:01.425" v="3636" actId="20577"/>
          <ac:spMkLst>
            <pc:docMk/>
            <pc:sldMk cId="828544820" sldId="2711"/>
            <ac:spMk id="30" creationId="{490D244C-C74F-48CA-8CD8-300153C369C9}"/>
          </ac:spMkLst>
        </pc:spChg>
      </pc:sldChg>
      <pc:sldChg chg="delSp modSp add mod">
        <pc:chgData name="Jain, Shreyansh" userId="2845c589-ff3c-4dee-bf29-f4bc1a5e1ae1" providerId="ADAL" clId="{24281453-EFF9-4E20-9CC2-652270410453}" dt="2021-12-08T16:43:52.614" v="4088" actId="478"/>
        <pc:sldMkLst>
          <pc:docMk/>
          <pc:sldMk cId="3908394680" sldId="2712"/>
        </pc:sldMkLst>
        <pc:spChg chg="del">
          <ac:chgData name="Jain, Shreyansh" userId="2845c589-ff3c-4dee-bf29-f4bc1a5e1ae1" providerId="ADAL" clId="{24281453-EFF9-4E20-9CC2-652270410453}" dt="2021-12-08T16:43:52.614" v="4088" actId="478"/>
          <ac:spMkLst>
            <pc:docMk/>
            <pc:sldMk cId="3908394680" sldId="2712"/>
            <ac:spMk id="23" creationId="{050055D8-B216-43D3-B844-16C232E67075}"/>
          </ac:spMkLst>
        </pc:spChg>
        <pc:spChg chg="mod">
          <ac:chgData name="Jain, Shreyansh" userId="2845c589-ff3c-4dee-bf29-f4bc1a5e1ae1" providerId="ADAL" clId="{24281453-EFF9-4E20-9CC2-652270410453}" dt="2021-12-08T02:51:08.406" v="3649" actId="207"/>
          <ac:spMkLst>
            <pc:docMk/>
            <pc:sldMk cId="3908394680" sldId="2712"/>
            <ac:spMk id="32" creationId="{4C2F6C00-A0C5-49BF-8488-57B15D35F656}"/>
          </ac:spMkLst>
        </pc:spChg>
        <pc:spChg chg="mod">
          <ac:chgData name="Jain, Shreyansh" userId="2845c589-ff3c-4dee-bf29-f4bc1a5e1ae1" providerId="ADAL" clId="{24281453-EFF9-4E20-9CC2-652270410453}" dt="2021-12-08T02:51:04.478" v="3648" actId="207"/>
          <ac:spMkLst>
            <pc:docMk/>
            <pc:sldMk cId="3908394680" sldId="2712"/>
            <ac:spMk id="40" creationId="{4E70B1D2-1E63-4A66-9CFB-89BAA56515BB}"/>
          </ac:spMkLst>
        </pc:spChg>
      </pc:sldChg>
      <pc:sldMasterChg chg="delSldLayout">
        <pc:chgData name="Jain, Shreyansh" userId="2845c589-ff3c-4dee-bf29-f4bc1a5e1ae1" providerId="ADAL" clId="{24281453-EFF9-4E20-9CC2-652270410453}" dt="2021-12-07T23:39:39.494" v="1375" actId="47"/>
        <pc:sldMasterMkLst>
          <pc:docMk/>
          <pc:sldMasterMk cId="3801999350" sldId="2147483648"/>
        </pc:sldMasterMkLst>
        <pc:sldLayoutChg chg="del">
          <pc:chgData name="Jain, Shreyansh" userId="2845c589-ff3c-4dee-bf29-f4bc1a5e1ae1" providerId="ADAL" clId="{24281453-EFF9-4E20-9CC2-652270410453}" dt="2021-12-07T23:39:39.494" v="1375" actId="47"/>
          <pc:sldLayoutMkLst>
            <pc:docMk/>
            <pc:sldMasterMk cId="3801999350" sldId="2147483648"/>
            <pc:sldLayoutMk cId="2989972157" sldId="2147483681"/>
          </pc:sldLayoutMkLst>
        </pc:sldLayoutChg>
      </pc:sldMasterChg>
    </pc:docChg>
  </pc:docChgLst>
  <pc:docChgLst>
    <pc:chgData name="Soni, Vineet Suhas" userId="S::vsoni@purdue.edu::7fa9341a-cabe-4797-868c-5a4860af8213" providerId="AD" clId="Web-{74F4E8D6-F43F-48A4-BA81-9DFC3F28E59B}"/>
    <pc:docChg chg="modSld">
      <pc:chgData name="Soni, Vineet Suhas" userId="S::vsoni@purdue.edu::7fa9341a-cabe-4797-868c-5a4860af8213" providerId="AD" clId="Web-{74F4E8D6-F43F-48A4-BA81-9DFC3F28E59B}" dt="2021-12-08T14:37:31.373" v="47" actId="20577"/>
      <pc:docMkLst>
        <pc:docMk/>
      </pc:docMkLst>
      <pc:sldChg chg="modSp">
        <pc:chgData name="Soni, Vineet Suhas" userId="S::vsoni@purdue.edu::7fa9341a-cabe-4797-868c-5a4860af8213" providerId="AD" clId="Web-{74F4E8D6-F43F-48A4-BA81-9DFC3F28E59B}" dt="2021-12-08T14:37:31.373" v="47" actId="20577"/>
        <pc:sldMkLst>
          <pc:docMk/>
          <pc:sldMk cId="404424319" sldId="421"/>
        </pc:sldMkLst>
        <pc:spChg chg="mod">
          <ac:chgData name="Soni, Vineet Suhas" userId="S::vsoni@purdue.edu::7fa9341a-cabe-4797-868c-5a4860af8213" providerId="AD" clId="Web-{74F4E8D6-F43F-48A4-BA81-9DFC3F28E59B}" dt="2021-12-08T14:37:31.373" v="47" actId="20577"/>
          <ac:spMkLst>
            <pc:docMk/>
            <pc:sldMk cId="404424319" sldId="421"/>
            <ac:spMk id="20" creationId="{8B9A58CF-8D2C-463E-B030-3D0AEE1BA272}"/>
          </ac:spMkLst>
        </pc:spChg>
      </pc:sldChg>
      <pc:sldChg chg="addSp delSp modSp">
        <pc:chgData name="Soni, Vineet Suhas" userId="S::vsoni@purdue.edu::7fa9341a-cabe-4797-868c-5a4860af8213" providerId="AD" clId="Web-{74F4E8D6-F43F-48A4-BA81-9DFC3F28E59B}" dt="2021-12-08T13:55:38.029" v="42" actId="20577"/>
        <pc:sldMkLst>
          <pc:docMk/>
          <pc:sldMk cId="3734496598" sldId="2706"/>
        </pc:sldMkLst>
        <pc:spChg chg="mod">
          <ac:chgData name="Soni, Vineet Suhas" userId="S::vsoni@purdue.edu::7fa9341a-cabe-4797-868c-5a4860af8213" providerId="AD" clId="Web-{74F4E8D6-F43F-48A4-BA81-9DFC3F28E59B}" dt="2021-12-08T13:54:23.606" v="20" actId="20577"/>
          <ac:spMkLst>
            <pc:docMk/>
            <pc:sldMk cId="3734496598" sldId="2706"/>
            <ac:spMk id="66" creationId="{BC55EF82-5F39-4FBE-9FB9-F71800FA3BB4}"/>
          </ac:spMkLst>
        </pc:spChg>
        <pc:spChg chg="mod">
          <ac:chgData name="Soni, Vineet Suhas" userId="S::vsoni@purdue.edu::7fa9341a-cabe-4797-868c-5a4860af8213" providerId="AD" clId="Web-{74F4E8D6-F43F-48A4-BA81-9DFC3F28E59B}" dt="2021-12-08T13:53:35.964" v="1" actId="20577"/>
          <ac:spMkLst>
            <pc:docMk/>
            <pc:sldMk cId="3734496598" sldId="2706"/>
            <ac:spMk id="69" creationId="{ECEB6EB5-9841-4006-A6D2-0A3C75218D4A}"/>
          </ac:spMkLst>
        </pc:spChg>
        <pc:spChg chg="mod">
          <ac:chgData name="Soni, Vineet Suhas" userId="S::vsoni@purdue.edu::7fa9341a-cabe-4797-868c-5a4860af8213" providerId="AD" clId="Web-{74F4E8D6-F43F-48A4-BA81-9DFC3F28E59B}" dt="2021-12-08T13:55:09.700" v="37" actId="20577"/>
          <ac:spMkLst>
            <pc:docMk/>
            <pc:sldMk cId="3734496598" sldId="2706"/>
            <ac:spMk id="126" creationId="{319BBAA4-5F35-40F0-9D27-56E1696ACEB3}"/>
          </ac:spMkLst>
        </pc:spChg>
        <pc:spChg chg="mod">
          <ac:chgData name="Soni, Vineet Suhas" userId="S::vsoni@purdue.edu::7fa9341a-cabe-4797-868c-5a4860af8213" providerId="AD" clId="Web-{74F4E8D6-F43F-48A4-BA81-9DFC3F28E59B}" dt="2021-12-08T13:55:32.029" v="41" actId="20577"/>
          <ac:spMkLst>
            <pc:docMk/>
            <pc:sldMk cId="3734496598" sldId="2706"/>
            <ac:spMk id="127" creationId="{24BEAEDC-1B48-4206-B4FA-5BB5490E82E1}"/>
          </ac:spMkLst>
        </pc:spChg>
        <pc:spChg chg="mod">
          <ac:chgData name="Soni, Vineet Suhas" userId="S::vsoni@purdue.edu::7fa9341a-cabe-4797-868c-5a4860af8213" providerId="AD" clId="Web-{74F4E8D6-F43F-48A4-BA81-9DFC3F28E59B}" dt="2021-12-08T13:55:38.029" v="42" actId="20577"/>
          <ac:spMkLst>
            <pc:docMk/>
            <pc:sldMk cId="3734496598" sldId="2706"/>
            <ac:spMk id="128" creationId="{3393C950-999B-4B88-A849-327D11EE0899}"/>
          </ac:spMkLst>
        </pc:spChg>
        <pc:spChg chg="mod">
          <ac:chgData name="Soni, Vineet Suhas" userId="S::vsoni@purdue.edu::7fa9341a-cabe-4797-868c-5a4860af8213" providerId="AD" clId="Web-{74F4E8D6-F43F-48A4-BA81-9DFC3F28E59B}" dt="2021-12-08T13:54:45.934" v="26" actId="20577"/>
          <ac:spMkLst>
            <pc:docMk/>
            <pc:sldMk cId="3734496598" sldId="2706"/>
            <ac:spMk id="129" creationId="{A57A64C0-A34F-4529-A630-75D3C82F5F2D}"/>
          </ac:spMkLst>
        </pc:spChg>
        <pc:spChg chg="mod">
          <ac:chgData name="Soni, Vineet Suhas" userId="S::vsoni@purdue.edu::7fa9341a-cabe-4797-868c-5a4860af8213" providerId="AD" clId="Web-{74F4E8D6-F43F-48A4-BA81-9DFC3F28E59B}" dt="2021-12-08T13:54:53.512" v="29" actId="20577"/>
          <ac:spMkLst>
            <pc:docMk/>
            <pc:sldMk cId="3734496598" sldId="2706"/>
            <ac:spMk id="130" creationId="{B95026DE-DD33-4A3D-AC73-A52AE90A445B}"/>
          </ac:spMkLst>
        </pc:spChg>
        <pc:spChg chg="mod">
          <ac:chgData name="Soni, Vineet Suhas" userId="S::vsoni@purdue.edu::7fa9341a-cabe-4797-868c-5a4860af8213" providerId="AD" clId="Web-{74F4E8D6-F43F-48A4-BA81-9DFC3F28E59B}" dt="2021-12-08T13:55:06.606" v="34" actId="20577"/>
          <ac:spMkLst>
            <pc:docMk/>
            <pc:sldMk cId="3734496598" sldId="2706"/>
            <ac:spMk id="131" creationId="{2C134FFD-9053-44B5-B4EC-70E30A459622}"/>
          </ac:spMkLst>
        </pc:spChg>
        <pc:picChg chg="add mod">
          <ac:chgData name="Soni, Vineet Suhas" userId="S::vsoni@purdue.edu::7fa9341a-cabe-4797-868c-5a4860af8213" providerId="AD" clId="Web-{74F4E8D6-F43F-48A4-BA81-9DFC3F28E59B}" dt="2021-12-08T13:54:20.262" v="17" actId="1076"/>
          <ac:picMkLst>
            <pc:docMk/>
            <pc:sldMk cId="3734496598" sldId="2706"/>
            <ac:picMk id="50" creationId="{97237D3B-90A8-4FE8-BFC1-604FE483BA33}"/>
          </ac:picMkLst>
        </pc:picChg>
        <pc:picChg chg="mod">
          <ac:chgData name="Soni, Vineet Suhas" userId="S::vsoni@purdue.edu::7fa9341a-cabe-4797-868c-5a4860af8213" providerId="AD" clId="Web-{74F4E8D6-F43F-48A4-BA81-9DFC3F28E59B}" dt="2021-12-08T13:54:32.293" v="22" actId="1076"/>
          <ac:picMkLst>
            <pc:docMk/>
            <pc:sldMk cId="3734496598" sldId="2706"/>
            <ac:picMk id="75" creationId="{508033A2-4C21-44BE-9A1F-ADCF6B8D482B}"/>
          </ac:picMkLst>
        </pc:picChg>
        <pc:picChg chg="del">
          <ac:chgData name="Soni, Vineet Suhas" userId="S::vsoni@purdue.edu::7fa9341a-cabe-4797-868c-5a4860af8213" providerId="AD" clId="Web-{74F4E8D6-F43F-48A4-BA81-9DFC3F28E59B}" dt="2021-12-08T13:54:27.293" v="21"/>
          <ac:picMkLst>
            <pc:docMk/>
            <pc:sldMk cId="3734496598" sldId="2706"/>
            <ac:picMk id="79" creationId="{E1244C9E-39DD-453F-BC1E-D55E2E36233B}"/>
          </ac:picMkLst>
        </pc:picChg>
      </pc:sldChg>
    </pc:docChg>
  </pc:docChgLst>
  <pc:docChgLst>
    <pc:chgData name="Santhanakrishnan, Sanjana" userId="70bd2cb3-0786-4e01-aa16-22674ac0682f" providerId="ADAL" clId="{2241B1F0-2507-4753-9FC0-CA09CD839019}"/>
    <pc:docChg chg="delSld modSld">
      <pc:chgData name="Santhanakrishnan, Sanjana" userId="70bd2cb3-0786-4e01-aa16-22674ac0682f" providerId="ADAL" clId="{2241B1F0-2507-4753-9FC0-CA09CD839019}" dt="2021-12-09T01:42:36.112" v="37" actId="1036"/>
      <pc:docMkLst>
        <pc:docMk/>
      </pc:docMkLst>
      <pc:sldChg chg="modSp mod">
        <pc:chgData name="Santhanakrishnan, Sanjana" userId="70bd2cb3-0786-4e01-aa16-22674ac0682f" providerId="ADAL" clId="{2241B1F0-2507-4753-9FC0-CA09CD839019}" dt="2021-12-09T01:42:36.112" v="37" actId="1036"/>
        <pc:sldMkLst>
          <pc:docMk/>
          <pc:sldMk cId="1355535151" sldId="432"/>
        </pc:sldMkLst>
        <pc:picChg chg="mod">
          <ac:chgData name="Santhanakrishnan, Sanjana" userId="70bd2cb3-0786-4e01-aa16-22674ac0682f" providerId="ADAL" clId="{2241B1F0-2507-4753-9FC0-CA09CD839019}" dt="2021-12-09T01:42:36.112" v="37" actId="1036"/>
          <ac:picMkLst>
            <pc:docMk/>
            <pc:sldMk cId="1355535151" sldId="432"/>
            <ac:picMk id="11" creationId="{1F80B303-3757-4513-8E13-690D2096DAD7}"/>
          </ac:picMkLst>
        </pc:picChg>
      </pc:sldChg>
      <pc:sldChg chg="modSp mod">
        <pc:chgData name="Santhanakrishnan, Sanjana" userId="70bd2cb3-0786-4e01-aa16-22674ac0682f" providerId="ADAL" clId="{2241B1F0-2507-4753-9FC0-CA09CD839019}" dt="2021-12-08T17:09:07.518" v="14" actId="20577"/>
        <pc:sldMkLst>
          <pc:docMk/>
          <pc:sldMk cId="4268043350" sldId="433"/>
        </pc:sldMkLst>
        <pc:spChg chg="mod">
          <ac:chgData name="Santhanakrishnan, Sanjana" userId="70bd2cb3-0786-4e01-aa16-22674ac0682f" providerId="ADAL" clId="{2241B1F0-2507-4753-9FC0-CA09CD839019}" dt="2021-12-08T17:09:07.518" v="14" actId="20577"/>
          <ac:spMkLst>
            <pc:docMk/>
            <pc:sldMk cId="4268043350" sldId="433"/>
            <ac:spMk id="9" creationId="{CEC14F36-D70D-004D-AFAB-0F0E5695DD3C}"/>
          </ac:spMkLst>
        </pc:spChg>
        <pc:spChg chg="mod">
          <ac:chgData name="Santhanakrishnan, Sanjana" userId="70bd2cb3-0786-4e01-aa16-22674ac0682f" providerId="ADAL" clId="{2241B1F0-2507-4753-9FC0-CA09CD839019}" dt="2021-12-08T17:08:59.463" v="11" actId="21"/>
          <ac:spMkLst>
            <pc:docMk/>
            <pc:sldMk cId="4268043350" sldId="433"/>
            <ac:spMk id="10" creationId="{150BE547-9D80-B742-B8B4-8628CB5C2D48}"/>
          </ac:spMkLst>
        </pc:spChg>
        <pc:picChg chg="mod">
          <ac:chgData name="Santhanakrishnan, Sanjana" userId="70bd2cb3-0786-4e01-aa16-22674ac0682f" providerId="ADAL" clId="{2241B1F0-2507-4753-9FC0-CA09CD839019}" dt="2021-12-08T17:08:44.157" v="7" actId="1076"/>
          <ac:picMkLst>
            <pc:docMk/>
            <pc:sldMk cId="4268043350" sldId="433"/>
            <ac:picMk id="14" creationId="{98A81AEF-F83F-C44A-898E-C8C82EAADA84}"/>
          </ac:picMkLst>
        </pc:picChg>
        <pc:picChg chg="mod">
          <ac:chgData name="Santhanakrishnan, Sanjana" userId="70bd2cb3-0786-4e01-aa16-22674ac0682f" providerId="ADAL" clId="{2241B1F0-2507-4753-9FC0-CA09CD839019}" dt="2021-12-08T17:08:41.215" v="6" actId="1076"/>
          <ac:picMkLst>
            <pc:docMk/>
            <pc:sldMk cId="4268043350" sldId="433"/>
            <ac:picMk id="15" creationId="{660EB91D-7F44-734F-8EEB-3A8BA85D363D}"/>
          </ac:picMkLst>
        </pc:picChg>
      </pc:sldChg>
      <pc:sldChg chg="addSp delSp modSp mod">
        <pc:chgData name="Santhanakrishnan, Sanjana" userId="70bd2cb3-0786-4e01-aa16-22674ac0682f" providerId="ADAL" clId="{2241B1F0-2507-4753-9FC0-CA09CD839019}" dt="2021-12-07T23:46:20.563" v="3" actId="207"/>
        <pc:sldMkLst>
          <pc:docMk/>
          <pc:sldMk cId="953384855" sldId="2698"/>
        </pc:sldMkLst>
        <pc:spChg chg="mod">
          <ac:chgData name="Santhanakrishnan, Sanjana" userId="70bd2cb3-0786-4e01-aa16-22674ac0682f" providerId="ADAL" clId="{2241B1F0-2507-4753-9FC0-CA09CD839019}" dt="2021-12-07T23:30:07.387" v="0" actId="1076"/>
          <ac:spMkLst>
            <pc:docMk/>
            <pc:sldMk cId="953384855" sldId="2698"/>
            <ac:spMk id="6" creationId="{99510AA1-D904-4578-B940-48098F91670A}"/>
          </ac:spMkLst>
        </pc:spChg>
        <pc:spChg chg="mod">
          <ac:chgData name="Santhanakrishnan, Sanjana" userId="70bd2cb3-0786-4e01-aa16-22674ac0682f" providerId="ADAL" clId="{2241B1F0-2507-4753-9FC0-CA09CD839019}" dt="2021-12-07T23:46:20.563" v="3" actId="207"/>
          <ac:spMkLst>
            <pc:docMk/>
            <pc:sldMk cId="953384855" sldId="2698"/>
            <ac:spMk id="23" creationId="{D062855E-E196-431E-BED7-1B8C4B137F59}"/>
          </ac:spMkLst>
        </pc:spChg>
        <pc:picChg chg="add del">
          <ac:chgData name="Santhanakrishnan, Sanjana" userId="70bd2cb3-0786-4e01-aa16-22674ac0682f" providerId="ADAL" clId="{2241B1F0-2507-4753-9FC0-CA09CD839019}" dt="2021-12-07T23:40:48.072" v="2" actId="21"/>
          <ac:picMkLst>
            <pc:docMk/>
            <pc:sldMk cId="953384855" sldId="2698"/>
            <ac:picMk id="33796" creationId="{B36194E2-7A28-4903-8858-C9572B80FFF6}"/>
          </ac:picMkLst>
        </pc:picChg>
      </pc:sldChg>
      <pc:sldChg chg="del">
        <pc:chgData name="Santhanakrishnan, Sanjana" userId="70bd2cb3-0786-4e01-aa16-22674ac0682f" providerId="ADAL" clId="{2241B1F0-2507-4753-9FC0-CA09CD839019}" dt="2021-12-08T16:58:50.341" v="4" actId="2696"/>
        <pc:sldMkLst>
          <pc:docMk/>
          <pc:sldMk cId="1899183424" sldId="2703"/>
        </pc:sldMkLst>
      </pc:sldChg>
      <pc:sldChg chg="modSp mod">
        <pc:chgData name="Santhanakrishnan, Sanjana" userId="70bd2cb3-0786-4e01-aa16-22674ac0682f" providerId="ADAL" clId="{2241B1F0-2507-4753-9FC0-CA09CD839019}" dt="2021-12-09T00:39:06.424" v="36" actId="20577"/>
        <pc:sldMkLst>
          <pc:docMk/>
          <pc:sldMk cId="3734496598" sldId="2706"/>
        </pc:sldMkLst>
        <pc:spChg chg="mod">
          <ac:chgData name="Santhanakrishnan, Sanjana" userId="70bd2cb3-0786-4e01-aa16-22674ac0682f" providerId="ADAL" clId="{2241B1F0-2507-4753-9FC0-CA09CD839019}" dt="2021-12-09T00:38:43.768" v="22" actId="20577"/>
          <ac:spMkLst>
            <pc:docMk/>
            <pc:sldMk cId="3734496598" sldId="2706"/>
            <ac:spMk id="123" creationId="{0722AB56-9D27-438B-8CE7-1096973FF999}"/>
          </ac:spMkLst>
        </pc:spChg>
        <pc:spChg chg="mod">
          <ac:chgData name="Santhanakrishnan, Sanjana" userId="70bd2cb3-0786-4e01-aa16-22674ac0682f" providerId="ADAL" clId="{2241B1F0-2507-4753-9FC0-CA09CD839019}" dt="2021-12-09T00:38:56.829" v="30" actId="20577"/>
          <ac:spMkLst>
            <pc:docMk/>
            <pc:sldMk cId="3734496598" sldId="2706"/>
            <ac:spMk id="124" creationId="{81421612-D948-45B7-A876-8C9DFC6EABE0}"/>
          </ac:spMkLst>
        </pc:spChg>
        <pc:spChg chg="mod">
          <ac:chgData name="Santhanakrishnan, Sanjana" userId="70bd2cb3-0786-4e01-aa16-22674ac0682f" providerId="ADAL" clId="{2241B1F0-2507-4753-9FC0-CA09CD839019}" dt="2021-12-09T00:39:06.424" v="36" actId="20577"/>
          <ac:spMkLst>
            <pc:docMk/>
            <pc:sldMk cId="3734496598" sldId="2706"/>
            <ac:spMk id="125" creationId="{041F7293-D7C7-4851-8450-9D12CAF0F135}"/>
          </ac:spMkLst>
        </pc:spChg>
      </pc:sldChg>
    </pc:docChg>
  </pc:docChgLst>
  <pc:docChgLst>
    <pc:chgData name="Jain, Shreyansh" userId="S::jain475@purdue.edu::2845c589-ff3c-4dee-bf29-f4bc1a5e1ae1" providerId="AD" clId="Web-{62233361-F53B-480C-AC66-79448DA78FDC}"/>
    <pc:docChg chg="modSld">
      <pc:chgData name="Jain, Shreyansh" userId="S::jain475@purdue.edu::2845c589-ff3c-4dee-bf29-f4bc1a5e1ae1" providerId="AD" clId="Web-{62233361-F53B-480C-AC66-79448DA78FDC}" dt="2021-12-08T15:32:33.652" v="61" actId="20577"/>
      <pc:docMkLst>
        <pc:docMk/>
      </pc:docMkLst>
      <pc:sldChg chg="modSp">
        <pc:chgData name="Jain, Shreyansh" userId="S::jain475@purdue.edu::2845c589-ff3c-4dee-bf29-f4bc1a5e1ae1" providerId="AD" clId="Web-{62233361-F53B-480C-AC66-79448DA78FDC}" dt="2021-12-08T15:32:33.652" v="61" actId="20577"/>
        <pc:sldMkLst>
          <pc:docMk/>
          <pc:sldMk cId="1355535151" sldId="432"/>
        </pc:sldMkLst>
        <pc:spChg chg="mod">
          <ac:chgData name="Jain, Shreyansh" userId="S::jain475@purdue.edu::2845c589-ff3c-4dee-bf29-f4bc1a5e1ae1" providerId="AD" clId="Web-{62233361-F53B-480C-AC66-79448DA78FDC}" dt="2021-12-08T15:32:33.652" v="61" actId="20577"/>
          <ac:spMkLst>
            <pc:docMk/>
            <pc:sldMk cId="1355535151" sldId="432"/>
            <ac:spMk id="13" creationId="{86AA3EF4-479A-1745-A8AF-B5ACEFB21B34}"/>
          </ac:spMkLst>
        </pc:spChg>
        <pc:spChg chg="mod">
          <ac:chgData name="Jain, Shreyansh" userId="S::jain475@purdue.edu::2845c589-ff3c-4dee-bf29-f4bc1a5e1ae1" providerId="AD" clId="Web-{62233361-F53B-480C-AC66-79448DA78FDC}" dt="2021-12-08T15:18:14.745" v="58" actId="1076"/>
          <ac:spMkLst>
            <pc:docMk/>
            <pc:sldMk cId="1355535151" sldId="432"/>
            <ac:spMk id="16" creationId="{A40F3236-39C8-AC4D-B099-1F2E29F11DF2}"/>
          </ac:spMkLst>
        </pc:spChg>
        <pc:spChg chg="mod">
          <ac:chgData name="Jain, Shreyansh" userId="S::jain475@purdue.edu::2845c589-ff3c-4dee-bf29-f4bc1a5e1ae1" providerId="AD" clId="Web-{62233361-F53B-480C-AC66-79448DA78FDC}" dt="2021-12-08T15:17:12.480" v="37" actId="14100"/>
          <ac:spMkLst>
            <pc:docMk/>
            <pc:sldMk cId="1355535151" sldId="432"/>
            <ac:spMk id="19" creationId="{42A1EEDA-0CE5-2848-AF4E-AA15A39B1113}"/>
          </ac:spMkLst>
        </pc:spChg>
        <pc:spChg chg="mod">
          <ac:chgData name="Jain, Shreyansh" userId="S::jain475@purdue.edu::2845c589-ff3c-4dee-bf29-f4bc1a5e1ae1" providerId="AD" clId="Web-{62233361-F53B-480C-AC66-79448DA78FDC}" dt="2021-12-08T15:17:22.011" v="47" actId="20577"/>
          <ac:spMkLst>
            <pc:docMk/>
            <pc:sldMk cId="1355535151" sldId="432"/>
            <ac:spMk id="22" creationId="{D8FB643C-77AF-C64F-A853-95641D95867E}"/>
          </ac:spMkLst>
        </pc:spChg>
      </pc:sldChg>
      <pc:sldChg chg="modSp">
        <pc:chgData name="Jain, Shreyansh" userId="S::jain475@purdue.edu::2845c589-ff3c-4dee-bf29-f4bc1a5e1ae1" providerId="AD" clId="Web-{62233361-F53B-480C-AC66-79448DA78FDC}" dt="2021-12-08T15:13:24.729" v="7" actId="20577"/>
        <pc:sldMkLst>
          <pc:docMk/>
          <pc:sldMk cId="1556732082" sldId="2708"/>
        </pc:sldMkLst>
        <pc:spChg chg="mod">
          <ac:chgData name="Jain, Shreyansh" userId="S::jain475@purdue.edu::2845c589-ff3c-4dee-bf29-f4bc1a5e1ae1" providerId="AD" clId="Web-{62233361-F53B-480C-AC66-79448DA78FDC}" dt="2021-12-08T15:13:24.729" v="7" actId="20577"/>
          <ac:spMkLst>
            <pc:docMk/>
            <pc:sldMk cId="1556732082" sldId="2708"/>
            <ac:spMk id="2" creationId="{74FECA68-23D4-4B42-9848-3115D44CB3C9}"/>
          </ac:spMkLst>
        </pc:spChg>
      </pc:sldChg>
    </pc:docChg>
  </pc:docChgLst>
  <pc:docChgLst>
    <pc:chgData name="Soni, Vineet Suhas" userId="S::vsoni@purdue.edu::7fa9341a-cabe-4797-868c-5a4860af8213" providerId="AD" clId="Web-{93B70137-BCBC-4843-B6D3-8D79031CCEC5}"/>
    <pc:docChg chg="modSld">
      <pc:chgData name="Soni, Vineet Suhas" userId="S::vsoni@purdue.edu::7fa9341a-cabe-4797-868c-5a4860af8213" providerId="AD" clId="Web-{93B70137-BCBC-4843-B6D3-8D79031CCEC5}" dt="2021-12-08T05:20:55.488" v="5"/>
      <pc:docMkLst>
        <pc:docMk/>
      </pc:docMkLst>
      <pc:sldChg chg="addSp delSp modSp">
        <pc:chgData name="Soni, Vineet Suhas" userId="S::vsoni@purdue.edu::7fa9341a-cabe-4797-868c-5a4860af8213" providerId="AD" clId="Web-{93B70137-BCBC-4843-B6D3-8D79031CCEC5}" dt="2021-12-08T05:20:55.488" v="5"/>
        <pc:sldMkLst>
          <pc:docMk/>
          <pc:sldMk cId="1556732082" sldId="2708"/>
        </pc:sldMkLst>
        <pc:spChg chg="add del mod">
          <ac:chgData name="Soni, Vineet Suhas" userId="S::vsoni@purdue.edu::7fa9341a-cabe-4797-868c-5a4860af8213" providerId="AD" clId="Web-{93B70137-BCBC-4843-B6D3-8D79031CCEC5}" dt="2021-12-08T05:20:55.488" v="5"/>
          <ac:spMkLst>
            <pc:docMk/>
            <pc:sldMk cId="1556732082" sldId="2708"/>
            <ac:spMk id="11" creationId="{7E49B1DD-1600-44C7-94B2-AA28CAF500D3}"/>
          </ac:spMkLst>
        </pc:spChg>
        <pc:picChg chg="add mod">
          <ac:chgData name="Soni, Vineet Suhas" userId="S::vsoni@purdue.edu::7fa9341a-cabe-4797-868c-5a4860af8213" providerId="AD" clId="Web-{93B70137-BCBC-4843-B6D3-8D79031CCEC5}" dt="2021-12-08T05:20:45.222" v="4" actId="14100"/>
          <ac:picMkLst>
            <pc:docMk/>
            <pc:sldMk cId="1556732082" sldId="2708"/>
            <ac:picMk id="4" creationId="{A30F0F52-C137-48AE-A8F5-AB183966C9F1}"/>
          </ac:picMkLst>
        </pc:picChg>
        <pc:picChg chg="del">
          <ac:chgData name="Soni, Vineet Suhas" userId="S::vsoni@purdue.edu::7fa9341a-cabe-4797-868c-5a4860af8213" providerId="AD" clId="Web-{93B70137-BCBC-4843-B6D3-8D79031CCEC5}" dt="2021-12-08T05:20:40.831" v="3"/>
          <ac:picMkLst>
            <pc:docMk/>
            <pc:sldMk cId="1556732082" sldId="2708"/>
            <ac:picMk id="42" creationId="{5CBCF109-2F4F-4A8A-9895-F3607C99926E}"/>
          </ac:picMkLst>
        </pc:picChg>
      </pc:sldChg>
    </pc:docChg>
  </pc:docChgLst>
  <pc:docChgLst>
    <pc:chgData name="Shokeen, Vishal" userId="d02dba07-2efa-414c-901f-6cd1d1a207e7" providerId="ADAL" clId="{D8E69C04-CF73-43D4-84E9-719D23583663}"/>
    <pc:docChg chg="undo custSel modSld">
      <pc:chgData name="Shokeen, Vishal" userId="d02dba07-2efa-414c-901f-6cd1d1a207e7" providerId="ADAL" clId="{D8E69C04-CF73-43D4-84E9-719D23583663}" dt="2021-12-08T17:47:56.081" v="1371" actId="20577"/>
      <pc:docMkLst>
        <pc:docMk/>
      </pc:docMkLst>
      <pc:sldChg chg="modSp mod">
        <pc:chgData name="Shokeen, Vishal" userId="d02dba07-2efa-414c-901f-6cd1d1a207e7" providerId="ADAL" clId="{D8E69C04-CF73-43D4-84E9-719D23583663}" dt="2021-12-08T03:01:45.573" v="7" actId="1035"/>
        <pc:sldMkLst>
          <pc:docMk/>
          <pc:sldMk cId="1355535151" sldId="432"/>
        </pc:sldMkLst>
        <pc:picChg chg="mod">
          <ac:chgData name="Shokeen, Vishal" userId="d02dba07-2efa-414c-901f-6cd1d1a207e7" providerId="ADAL" clId="{D8E69C04-CF73-43D4-84E9-719D23583663}" dt="2021-12-08T03:01:45.573" v="7" actId="1035"/>
          <ac:picMkLst>
            <pc:docMk/>
            <pc:sldMk cId="1355535151" sldId="432"/>
            <ac:picMk id="34" creationId="{6114D2F1-1642-4E35-AAAD-30422C415F64}"/>
          </ac:picMkLst>
        </pc:picChg>
      </pc:sldChg>
      <pc:sldChg chg="modSp mod">
        <pc:chgData name="Shokeen, Vishal" userId="d02dba07-2efa-414c-901f-6cd1d1a207e7" providerId="ADAL" clId="{D8E69C04-CF73-43D4-84E9-719D23583663}" dt="2021-12-08T17:47:56.081" v="1371" actId="20577"/>
        <pc:sldMkLst>
          <pc:docMk/>
          <pc:sldMk cId="4268043350" sldId="433"/>
        </pc:sldMkLst>
        <pc:spChg chg="mod">
          <ac:chgData name="Shokeen, Vishal" userId="d02dba07-2efa-414c-901f-6cd1d1a207e7" providerId="ADAL" clId="{D8E69C04-CF73-43D4-84E9-719D23583663}" dt="2021-12-08T17:47:56.081" v="1371" actId="20577"/>
          <ac:spMkLst>
            <pc:docMk/>
            <pc:sldMk cId="4268043350" sldId="433"/>
            <ac:spMk id="16" creationId="{D446513B-DD4A-6F45-B1B1-D3E4A4E374A8}"/>
          </ac:spMkLst>
        </pc:spChg>
        <pc:spChg chg="mod">
          <ac:chgData name="Shokeen, Vishal" userId="d02dba07-2efa-414c-901f-6cd1d1a207e7" providerId="ADAL" clId="{D8E69C04-CF73-43D4-84E9-719D23583663}" dt="2021-12-08T17:45:09.358" v="1256" actId="20577"/>
          <ac:spMkLst>
            <pc:docMk/>
            <pc:sldMk cId="4268043350" sldId="433"/>
            <ac:spMk id="17" creationId="{BE2D84F9-D763-2B47-9523-A49BB1637A57}"/>
          </ac:spMkLst>
        </pc:spChg>
        <pc:spChg chg="mod">
          <ac:chgData name="Shokeen, Vishal" userId="d02dba07-2efa-414c-901f-6cd1d1a207e7" providerId="ADAL" clId="{D8E69C04-CF73-43D4-84E9-719D23583663}" dt="2021-12-08T04:11:43.562" v="568" actId="1076"/>
          <ac:spMkLst>
            <pc:docMk/>
            <pc:sldMk cId="4268043350" sldId="433"/>
            <ac:spMk id="19" creationId="{1AF82A0C-01F2-B148-B6F6-4D908EA59C2F}"/>
          </ac:spMkLst>
        </pc:spChg>
        <pc:spChg chg="mod">
          <ac:chgData name="Shokeen, Vishal" userId="d02dba07-2efa-414c-901f-6cd1d1a207e7" providerId="ADAL" clId="{D8E69C04-CF73-43D4-84E9-719D23583663}" dt="2021-12-08T17:47:09.918" v="1333" actId="20577"/>
          <ac:spMkLst>
            <pc:docMk/>
            <pc:sldMk cId="4268043350" sldId="433"/>
            <ac:spMk id="20" creationId="{E5A3A7B1-7AB7-314D-BCDA-B60F51D16F97}"/>
          </ac:spMkLst>
        </pc:spChg>
        <pc:picChg chg="mod">
          <ac:chgData name="Shokeen, Vishal" userId="d02dba07-2efa-414c-901f-6cd1d1a207e7" providerId="ADAL" clId="{D8E69C04-CF73-43D4-84E9-719D23583663}" dt="2021-12-08T04:03:28.838" v="464" actId="1076"/>
          <ac:picMkLst>
            <pc:docMk/>
            <pc:sldMk cId="4268043350" sldId="433"/>
            <ac:picMk id="21" creationId="{1E59D194-2A38-4540-A970-CDBDD7908BAF}"/>
          </ac:picMkLst>
        </pc:picChg>
      </pc:sldChg>
      <pc:sldChg chg="modSp mod">
        <pc:chgData name="Shokeen, Vishal" userId="d02dba07-2efa-414c-901f-6cd1d1a207e7" providerId="ADAL" clId="{D8E69C04-CF73-43D4-84E9-719D23583663}" dt="2021-12-08T02:49:44.514" v="6" actId="1035"/>
        <pc:sldMkLst>
          <pc:docMk/>
          <pc:sldMk cId="1556732082" sldId="2708"/>
        </pc:sldMkLst>
        <pc:picChg chg="mod">
          <ac:chgData name="Shokeen, Vishal" userId="d02dba07-2efa-414c-901f-6cd1d1a207e7" providerId="ADAL" clId="{D8E69C04-CF73-43D4-84E9-719D23583663}" dt="2021-12-08T02:49:44.514" v="6" actId="1035"/>
          <ac:picMkLst>
            <pc:docMk/>
            <pc:sldMk cId="1556732082" sldId="2708"/>
            <ac:picMk id="42" creationId="{5CBCF109-2F4F-4A8A-9895-F3607C99926E}"/>
          </ac:picMkLst>
        </pc:picChg>
      </pc:sldChg>
    </pc:docChg>
  </pc:docChgLst>
  <pc:docChgLst>
    <pc:chgData name="Umamahesh, Adithya Bharadwaj" userId="S::aumamahe@purdue.edu::bae0ce40-ba58-49ae-96cc-3750cbefba2b" providerId="AD" clId="Web-{AB139BD5-516C-40B4-AAB8-3CC045D8631F}"/>
    <pc:docChg chg="modSld">
      <pc:chgData name="Umamahesh, Adithya Bharadwaj" userId="S::aumamahe@purdue.edu::bae0ce40-ba58-49ae-96cc-3750cbefba2b" providerId="AD" clId="Web-{AB139BD5-516C-40B4-AAB8-3CC045D8631F}" dt="2021-12-08T05:44:31.534" v="15" actId="1076"/>
      <pc:docMkLst>
        <pc:docMk/>
      </pc:docMkLst>
      <pc:sldChg chg="addSp modSp">
        <pc:chgData name="Umamahesh, Adithya Bharadwaj" userId="S::aumamahe@purdue.edu::bae0ce40-ba58-49ae-96cc-3750cbefba2b" providerId="AD" clId="Web-{AB139BD5-516C-40B4-AAB8-3CC045D8631F}" dt="2021-12-08T05:44:31.534" v="15" actId="1076"/>
        <pc:sldMkLst>
          <pc:docMk/>
          <pc:sldMk cId="953384855" sldId="2698"/>
        </pc:sldMkLst>
        <pc:spChg chg="mod">
          <ac:chgData name="Umamahesh, Adithya Bharadwaj" userId="S::aumamahe@purdue.edu::bae0ce40-ba58-49ae-96cc-3750cbefba2b" providerId="AD" clId="Web-{AB139BD5-516C-40B4-AAB8-3CC045D8631F}" dt="2021-12-08T05:43:57.503" v="8" actId="1076"/>
          <ac:spMkLst>
            <pc:docMk/>
            <pc:sldMk cId="953384855" sldId="2698"/>
            <ac:spMk id="10" creationId="{98D687D1-CD31-4632-8ACB-BEB84D7E2B6A}"/>
          </ac:spMkLst>
        </pc:spChg>
        <pc:spChg chg="mod">
          <ac:chgData name="Umamahesh, Adithya Bharadwaj" userId="S::aumamahe@purdue.edu::bae0ce40-ba58-49ae-96cc-3750cbefba2b" providerId="AD" clId="Web-{AB139BD5-516C-40B4-AAB8-3CC045D8631F}" dt="2021-12-08T05:44:07.253" v="11" actId="1076"/>
          <ac:spMkLst>
            <pc:docMk/>
            <pc:sldMk cId="953384855" sldId="2698"/>
            <ac:spMk id="14" creationId="{B3DA558F-503F-4F04-B224-928FE6F6562D}"/>
          </ac:spMkLst>
        </pc:spChg>
        <pc:spChg chg="mod">
          <ac:chgData name="Umamahesh, Adithya Bharadwaj" userId="S::aumamahe@purdue.edu::bae0ce40-ba58-49ae-96cc-3750cbefba2b" providerId="AD" clId="Web-{AB139BD5-516C-40B4-AAB8-3CC045D8631F}" dt="2021-12-08T05:44:15.191" v="12" actId="1076"/>
          <ac:spMkLst>
            <pc:docMk/>
            <pc:sldMk cId="953384855" sldId="2698"/>
            <ac:spMk id="15" creationId="{46AB7B1B-5AC0-4AC9-B6FA-44F7431EF2E3}"/>
          </ac:spMkLst>
        </pc:spChg>
        <pc:spChg chg="mod">
          <ac:chgData name="Umamahesh, Adithya Bharadwaj" userId="S::aumamahe@purdue.edu::bae0ce40-ba58-49ae-96cc-3750cbefba2b" providerId="AD" clId="Web-{AB139BD5-516C-40B4-AAB8-3CC045D8631F}" dt="2021-12-08T05:44:19.472" v="13" actId="1076"/>
          <ac:spMkLst>
            <pc:docMk/>
            <pc:sldMk cId="953384855" sldId="2698"/>
            <ac:spMk id="17" creationId="{835E3A70-DA4F-45EF-B86C-4AC284DC848E}"/>
          </ac:spMkLst>
        </pc:spChg>
        <pc:spChg chg="mod">
          <ac:chgData name="Umamahesh, Adithya Bharadwaj" userId="S::aumamahe@purdue.edu::bae0ce40-ba58-49ae-96cc-3750cbefba2b" providerId="AD" clId="Web-{AB139BD5-516C-40B4-AAB8-3CC045D8631F}" dt="2021-12-08T05:44:31.534" v="15" actId="1076"/>
          <ac:spMkLst>
            <pc:docMk/>
            <pc:sldMk cId="953384855" sldId="2698"/>
            <ac:spMk id="22" creationId="{3AFC13F6-02F3-48A5-B4EE-2346F5956045}"/>
          </ac:spMkLst>
        </pc:spChg>
        <pc:picChg chg="add mod">
          <ac:chgData name="Umamahesh, Adithya Bharadwaj" userId="S::aumamahe@purdue.edu::bae0ce40-ba58-49ae-96cc-3750cbefba2b" providerId="AD" clId="Web-{AB139BD5-516C-40B4-AAB8-3CC045D8631F}" dt="2021-12-08T05:43:53.503" v="7" actId="1076"/>
          <ac:picMkLst>
            <pc:docMk/>
            <pc:sldMk cId="953384855" sldId="2698"/>
            <ac:picMk id="4" creationId="{7BA43013-64C6-45F5-9E86-2CC1D6920A9D}"/>
          </ac:picMkLst>
        </pc:picChg>
      </pc:sldChg>
    </pc:docChg>
  </pc:docChgLst>
  <pc:docChgLst>
    <pc:chgData name="Umamahesh, Adithya Bharadwaj" userId="S::aumamahe@purdue.edu::bae0ce40-ba58-49ae-96cc-3750cbefba2b" providerId="AD" clId="Web-{E8897EF2-1A42-4ADC-8A99-0B000DBCEA40}"/>
    <pc:docChg chg="modSld">
      <pc:chgData name="Umamahesh, Adithya Bharadwaj" userId="S::aumamahe@purdue.edu::bae0ce40-ba58-49ae-96cc-3750cbefba2b" providerId="AD" clId="Web-{E8897EF2-1A42-4ADC-8A99-0B000DBCEA40}" dt="2021-12-08T02:04:51.175" v="22" actId="1076"/>
      <pc:docMkLst>
        <pc:docMk/>
      </pc:docMkLst>
      <pc:sldChg chg="modSp">
        <pc:chgData name="Umamahesh, Adithya Bharadwaj" userId="S::aumamahe@purdue.edu::bae0ce40-ba58-49ae-96cc-3750cbefba2b" providerId="AD" clId="Web-{E8897EF2-1A42-4ADC-8A99-0B000DBCEA40}" dt="2021-12-08T02:04:51.175" v="22" actId="1076"/>
        <pc:sldMkLst>
          <pc:docMk/>
          <pc:sldMk cId="3416100398" sldId="415"/>
        </pc:sldMkLst>
        <pc:picChg chg="mod">
          <ac:chgData name="Umamahesh, Adithya Bharadwaj" userId="S::aumamahe@purdue.edu::bae0ce40-ba58-49ae-96cc-3750cbefba2b" providerId="AD" clId="Web-{E8897EF2-1A42-4ADC-8A99-0B000DBCEA40}" dt="2021-12-08T02:04:51.175" v="22" actId="1076"/>
          <ac:picMkLst>
            <pc:docMk/>
            <pc:sldMk cId="3416100398" sldId="415"/>
            <ac:picMk id="56326" creationId="{9F9E1CAB-8905-4BD1-9AF9-15DE5E29DF0F}"/>
          </ac:picMkLst>
        </pc:picChg>
      </pc:sldChg>
      <pc:sldChg chg="modSp">
        <pc:chgData name="Umamahesh, Adithya Bharadwaj" userId="S::aumamahe@purdue.edu::bae0ce40-ba58-49ae-96cc-3750cbefba2b" providerId="AD" clId="Web-{E8897EF2-1A42-4ADC-8A99-0B000DBCEA40}" dt="2021-12-08T01:58:56.692" v="20" actId="1076"/>
        <pc:sldMkLst>
          <pc:docMk/>
          <pc:sldMk cId="953384855" sldId="2698"/>
        </pc:sldMkLst>
        <pc:spChg chg="mod">
          <ac:chgData name="Umamahesh, Adithya Bharadwaj" userId="S::aumamahe@purdue.edu::bae0ce40-ba58-49ae-96cc-3750cbefba2b" providerId="AD" clId="Web-{E8897EF2-1A42-4ADC-8A99-0B000DBCEA40}" dt="2021-12-08T01:58:56.692" v="20" actId="1076"/>
          <ac:spMkLst>
            <pc:docMk/>
            <pc:sldMk cId="953384855" sldId="2698"/>
            <ac:spMk id="2" creationId="{00000000-0000-0000-0000-000000000000}"/>
          </ac:spMkLst>
        </pc:spChg>
      </pc:sldChg>
      <pc:sldChg chg="addSp delSp modSp">
        <pc:chgData name="Umamahesh, Adithya Bharadwaj" userId="S::aumamahe@purdue.edu::bae0ce40-ba58-49ae-96cc-3750cbefba2b" providerId="AD" clId="Web-{E8897EF2-1A42-4ADC-8A99-0B000DBCEA40}" dt="2021-12-08T01:56:38.912" v="17"/>
        <pc:sldMkLst>
          <pc:docMk/>
          <pc:sldMk cId="2505177372" sldId="2710"/>
        </pc:sldMkLst>
        <pc:spChg chg="mod">
          <ac:chgData name="Umamahesh, Adithya Bharadwaj" userId="S::aumamahe@purdue.edu::bae0ce40-ba58-49ae-96cc-3750cbefba2b" providerId="AD" clId="Web-{E8897EF2-1A42-4ADC-8A99-0B000DBCEA40}" dt="2021-12-08T01:56:25.115" v="11" actId="1076"/>
          <ac:spMkLst>
            <pc:docMk/>
            <pc:sldMk cId="2505177372" sldId="2710"/>
            <ac:spMk id="4" creationId="{2657C7CD-E878-49B1-95D3-3C58E1F5B514}"/>
          </ac:spMkLst>
        </pc:spChg>
        <pc:spChg chg="add del">
          <ac:chgData name="Umamahesh, Adithya Bharadwaj" userId="S::aumamahe@purdue.edu::bae0ce40-ba58-49ae-96cc-3750cbefba2b" providerId="AD" clId="Web-{E8897EF2-1A42-4ADC-8A99-0B000DBCEA40}" dt="2021-12-08T01:56:38.912" v="17"/>
          <ac:spMkLst>
            <pc:docMk/>
            <pc:sldMk cId="2505177372" sldId="2710"/>
            <ac:spMk id="5" creationId="{4B5A5D07-8CD7-4796-8258-CC6EEF05D2D9}"/>
          </ac:spMkLst>
        </pc:spChg>
        <pc:spChg chg="add del">
          <ac:chgData name="Umamahesh, Adithya Bharadwaj" userId="S::aumamahe@purdue.edu::bae0ce40-ba58-49ae-96cc-3750cbefba2b" providerId="AD" clId="Web-{E8897EF2-1A42-4ADC-8A99-0B000DBCEA40}" dt="2021-12-08T01:56:38.177" v="16"/>
          <ac:spMkLst>
            <pc:docMk/>
            <pc:sldMk cId="2505177372" sldId="2710"/>
            <ac:spMk id="7" creationId="{9A64E441-D9C0-4C86-94DA-6357D527FB6B}"/>
          </ac:spMkLst>
        </pc:spChg>
        <pc:spChg chg="mod">
          <ac:chgData name="Umamahesh, Adithya Bharadwaj" userId="S::aumamahe@purdue.edu::bae0ce40-ba58-49ae-96cc-3750cbefba2b" providerId="AD" clId="Web-{E8897EF2-1A42-4ADC-8A99-0B000DBCEA40}" dt="2021-12-08T01:56:25.130" v="12" actId="1076"/>
          <ac:spMkLst>
            <pc:docMk/>
            <pc:sldMk cId="2505177372" sldId="2710"/>
            <ac:spMk id="25" creationId="{06FDFA5E-C60D-4146-958D-4FCEE2DF7A4A}"/>
          </ac:spMkLst>
        </pc:spChg>
        <pc:picChg chg="add mod">
          <ac:chgData name="Umamahesh, Adithya Bharadwaj" userId="S::aumamahe@purdue.edu::bae0ce40-ba58-49ae-96cc-3750cbefba2b" providerId="AD" clId="Web-{E8897EF2-1A42-4ADC-8A99-0B000DBCEA40}" dt="2021-12-08T01:56:10.193" v="9" actId="1076"/>
          <ac:picMkLst>
            <pc:docMk/>
            <pc:sldMk cId="2505177372" sldId="2710"/>
            <ac:picMk id="2" creationId="{358CD215-0F31-46FA-9F8D-1D3C3177DB6C}"/>
          </ac:picMkLst>
        </pc:picChg>
        <pc:picChg chg="mod">
          <ac:chgData name="Umamahesh, Adithya Bharadwaj" userId="S::aumamahe@purdue.edu::bae0ce40-ba58-49ae-96cc-3750cbefba2b" providerId="AD" clId="Web-{E8897EF2-1A42-4ADC-8A99-0B000DBCEA40}" dt="2021-12-08T01:56:25.115" v="10" actId="1076"/>
          <ac:picMkLst>
            <pc:docMk/>
            <pc:sldMk cId="2505177372" sldId="2710"/>
            <ac:picMk id="3" creationId="{DEA729AD-A515-4781-8426-34C8F994E700}"/>
          </ac:picMkLst>
        </pc:picChg>
        <pc:picChg chg="mod">
          <ac:chgData name="Umamahesh, Adithya Bharadwaj" userId="S::aumamahe@purdue.edu::bae0ce40-ba58-49ae-96cc-3750cbefba2b" providerId="AD" clId="Web-{E8897EF2-1A42-4ADC-8A99-0B000DBCEA40}" dt="2021-12-08T01:56:25.130" v="13" actId="1076"/>
          <ac:picMkLst>
            <pc:docMk/>
            <pc:sldMk cId="2505177372" sldId="2710"/>
            <ac:picMk id="6" creationId="{C9DD12AB-1F25-4F26-A34B-96ADCE096B9D}"/>
          </ac:picMkLst>
        </pc:picChg>
      </pc:sldChg>
    </pc:docChg>
  </pc:docChgLst>
  <pc:docChgLst>
    <pc:chgData name="Umamahesh, Adithya Bharadwaj" userId="S::aumamahe@purdue.edu::bae0ce40-ba58-49ae-96cc-3750cbefba2b" providerId="AD" clId="Web-{74AF2A43-973A-4B3B-88EC-AC565FE1CBE0}"/>
    <pc:docChg chg="modSld">
      <pc:chgData name="Umamahesh, Adithya Bharadwaj" userId="S::aumamahe@purdue.edu::bae0ce40-ba58-49ae-96cc-3750cbefba2b" providerId="AD" clId="Web-{74AF2A43-973A-4B3B-88EC-AC565FE1CBE0}" dt="2021-12-08T08:43:00.152" v="53" actId="1076"/>
      <pc:docMkLst>
        <pc:docMk/>
      </pc:docMkLst>
      <pc:sldChg chg="addSp delSp modSp">
        <pc:chgData name="Umamahesh, Adithya Bharadwaj" userId="S::aumamahe@purdue.edu::bae0ce40-ba58-49ae-96cc-3750cbefba2b" providerId="AD" clId="Web-{74AF2A43-973A-4B3B-88EC-AC565FE1CBE0}" dt="2021-12-08T08:37:05.683" v="48" actId="20577"/>
        <pc:sldMkLst>
          <pc:docMk/>
          <pc:sldMk cId="953384855" sldId="2698"/>
        </pc:sldMkLst>
        <pc:spChg chg="mod">
          <ac:chgData name="Umamahesh, Adithya Bharadwaj" userId="S::aumamahe@purdue.edu::bae0ce40-ba58-49ae-96cc-3750cbefba2b" providerId="AD" clId="Web-{74AF2A43-973A-4B3B-88EC-AC565FE1CBE0}" dt="2021-12-08T08:37:05.683" v="48" actId="20577"/>
          <ac:spMkLst>
            <pc:docMk/>
            <pc:sldMk cId="953384855" sldId="2698"/>
            <ac:spMk id="2" creationId="{00000000-0000-0000-0000-000000000000}"/>
          </ac:spMkLst>
        </pc:spChg>
        <pc:spChg chg="mod">
          <ac:chgData name="Umamahesh, Adithya Bharadwaj" userId="S::aumamahe@purdue.edu::bae0ce40-ba58-49ae-96cc-3750cbefba2b" providerId="AD" clId="Web-{74AF2A43-973A-4B3B-88EC-AC565FE1CBE0}" dt="2021-12-08T08:30:23.260" v="1"/>
          <ac:spMkLst>
            <pc:docMk/>
            <pc:sldMk cId="953384855" sldId="2698"/>
            <ac:spMk id="6" creationId="{99510AA1-D904-4578-B940-48098F91670A}"/>
          </ac:spMkLst>
        </pc:spChg>
        <pc:spChg chg="mod">
          <ac:chgData name="Umamahesh, Adithya Bharadwaj" userId="S::aumamahe@purdue.edu::bae0ce40-ba58-49ae-96cc-3750cbefba2b" providerId="AD" clId="Web-{74AF2A43-973A-4B3B-88EC-AC565FE1CBE0}" dt="2021-12-08T08:34:38.511" v="40" actId="1076"/>
          <ac:spMkLst>
            <pc:docMk/>
            <pc:sldMk cId="953384855" sldId="2698"/>
            <ac:spMk id="10" creationId="{98D687D1-CD31-4632-8ACB-BEB84D7E2B6A}"/>
          </ac:spMkLst>
        </pc:spChg>
        <pc:spChg chg="mod">
          <ac:chgData name="Umamahesh, Adithya Bharadwaj" userId="S::aumamahe@purdue.edu::bae0ce40-ba58-49ae-96cc-3750cbefba2b" providerId="AD" clId="Web-{74AF2A43-973A-4B3B-88EC-AC565FE1CBE0}" dt="2021-12-08T08:33:56.589" v="28" actId="1076"/>
          <ac:spMkLst>
            <pc:docMk/>
            <pc:sldMk cId="953384855" sldId="2698"/>
            <ac:spMk id="14" creationId="{B3DA558F-503F-4F04-B224-928FE6F6562D}"/>
          </ac:spMkLst>
        </pc:spChg>
        <pc:spChg chg="mod">
          <ac:chgData name="Umamahesh, Adithya Bharadwaj" userId="S::aumamahe@purdue.edu::bae0ce40-ba58-49ae-96cc-3750cbefba2b" providerId="AD" clId="Web-{74AF2A43-973A-4B3B-88EC-AC565FE1CBE0}" dt="2021-12-08T08:34:43.823" v="41" actId="1076"/>
          <ac:spMkLst>
            <pc:docMk/>
            <pc:sldMk cId="953384855" sldId="2698"/>
            <ac:spMk id="15" creationId="{46AB7B1B-5AC0-4AC9-B6FA-44F7431EF2E3}"/>
          </ac:spMkLst>
        </pc:spChg>
        <pc:spChg chg="mod">
          <ac:chgData name="Umamahesh, Adithya Bharadwaj" userId="S::aumamahe@purdue.edu::bae0ce40-ba58-49ae-96cc-3750cbefba2b" providerId="AD" clId="Web-{74AF2A43-973A-4B3B-88EC-AC565FE1CBE0}" dt="2021-12-08T08:34:52.620" v="43" actId="14100"/>
          <ac:spMkLst>
            <pc:docMk/>
            <pc:sldMk cId="953384855" sldId="2698"/>
            <ac:spMk id="17" creationId="{835E3A70-DA4F-45EF-B86C-4AC284DC848E}"/>
          </ac:spMkLst>
        </pc:spChg>
        <pc:spChg chg="mod">
          <ac:chgData name="Umamahesh, Adithya Bharadwaj" userId="S::aumamahe@purdue.edu::bae0ce40-ba58-49ae-96cc-3750cbefba2b" providerId="AD" clId="Web-{74AF2A43-973A-4B3B-88EC-AC565FE1CBE0}" dt="2021-12-08T08:35:00.120" v="44" actId="1076"/>
          <ac:spMkLst>
            <pc:docMk/>
            <pc:sldMk cId="953384855" sldId="2698"/>
            <ac:spMk id="22" creationId="{3AFC13F6-02F3-48A5-B4EE-2346F5956045}"/>
          </ac:spMkLst>
        </pc:spChg>
        <pc:picChg chg="del">
          <ac:chgData name="Umamahesh, Adithya Bharadwaj" userId="S::aumamahe@purdue.edu::bae0ce40-ba58-49ae-96cc-3750cbefba2b" providerId="AD" clId="Web-{74AF2A43-973A-4B3B-88EC-AC565FE1CBE0}" dt="2021-12-08T08:30:49.573" v="2"/>
          <ac:picMkLst>
            <pc:docMk/>
            <pc:sldMk cId="953384855" sldId="2698"/>
            <ac:picMk id="4" creationId="{7BA43013-64C6-45F5-9E86-2CC1D6920A9D}"/>
          </ac:picMkLst>
        </pc:picChg>
        <pc:picChg chg="add del mod ord">
          <ac:chgData name="Umamahesh, Adithya Bharadwaj" userId="S::aumamahe@purdue.edu::bae0ce40-ba58-49ae-96cc-3750cbefba2b" providerId="AD" clId="Web-{74AF2A43-973A-4B3B-88EC-AC565FE1CBE0}" dt="2021-12-08T08:32:06.370" v="11"/>
          <ac:picMkLst>
            <pc:docMk/>
            <pc:sldMk cId="953384855" sldId="2698"/>
            <ac:picMk id="5" creationId="{1A09D36F-6736-4925-ADC2-FAA0B0F54FEC}"/>
          </ac:picMkLst>
        </pc:picChg>
        <pc:picChg chg="add mod">
          <ac:chgData name="Umamahesh, Adithya Bharadwaj" userId="S::aumamahe@purdue.edu::bae0ce40-ba58-49ae-96cc-3750cbefba2b" providerId="AD" clId="Web-{74AF2A43-973A-4B3B-88EC-AC565FE1CBE0}" dt="2021-12-08T08:33:12.761" v="18" actId="1076"/>
          <ac:picMkLst>
            <pc:docMk/>
            <pc:sldMk cId="953384855" sldId="2698"/>
            <ac:picMk id="7" creationId="{5B3C04B6-F613-49BD-A570-54B37FA39884}"/>
          </ac:picMkLst>
        </pc:picChg>
      </pc:sldChg>
      <pc:sldChg chg="modSp">
        <pc:chgData name="Umamahesh, Adithya Bharadwaj" userId="S::aumamahe@purdue.edu::bae0ce40-ba58-49ae-96cc-3750cbefba2b" providerId="AD" clId="Web-{74AF2A43-973A-4B3B-88EC-AC565FE1CBE0}" dt="2021-12-08T08:43:00.152" v="53" actId="1076"/>
        <pc:sldMkLst>
          <pc:docMk/>
          <pc:sldMk cId="3734496598" sldId="2706"/>
        </pc:sldMkLst>
        <pc:picChg chg="mod">
          <ac:chgData name="Umamahesh, Adithya Bharadwaj" userId="S::aumamahe@purdue.edu::bae0ce40-ba58-49ae-96cc-3750cbefba2b" providerId="AD" clId="Web-{74AF2A43-973A-4B3B-88EC-AC565FE1CBE0}" dt="2021-12-08T08:43:00.152" v="53" actId="1076"/>
          <ac:picMkLst>
            <pc:docMk/>
            <pc:sldMk cId="3734496598" sldId="2706"/>
            <ac:picMk id="9" creationId="{5332EAF7-AE65-4A4F-9B77-76A0D4B995CF}"/>
          </ac:picMkLst>
        </pc:picChg>
      </pc:sldChg>
      <pc:sldChg chg="delSp">
        <pc:chgData name="Umamahesh, Adithya Bharadwaj" userId="S::aumamahe@purdue.edu::bae0ce40-ba58-49ae-96cc-3750cbefba2b" providerId="AD" clId="Web-{74AF2A43-973A-4B3B-88EC-AC565FE1CBE0}" dt="2021-12-08T08:36:18.589" v="45"/>
        <pc:sldMkLst>
          <pc:docMk/>
          <pc:sldMk cId="1670094585" sldId="2713"/>
        </pc:sldMkLst>
        <pc:spChg chg="del">
          <ac:chgData name="Umamahesh, Adithya Bharadwaj" userId="S::aumamahe@purdue.edu::bae0ce40-ba58-49ae-96cc-3750cbefba2b" providerId="AD" clId="Web-{74AF2A43-973A-4B3B-88EC-AC565FE1CBE0}" dt="2021-12-08T08:36:18.589" v="45"/>
          <ac:spMkLst>
            <pc:docMk/>
            <pc:sldMk cId="1670094585" sldId="2713"/>
            <ac:spMk id="8" creationId="{DFDC6F8C-5FA3-4A0C-B3E9-5B138B35F6DF}"/>
          </ac:spMkLst>
        </pc:spChg>
      </pc:sldChg>
    </pc:docChg>
  </pc:docChgLst>
  <pc:docChgLst>
    <pc:chgData name="Umamahesh, Adithya Bharadwaj" userId="S::aumamahe@purdue.edu::bae0ce40-ba58-49ae-96cc-3750cbefba2b" providerId="AD" clId="Web-{8DCD1A8B-FEC7-42C9-B869-5D71573D5F38}"/>
    <pc:docChg chg="modSld">
      <pc:chgData name="Umamahesh, Adithya Bharadwaj" userId="S::aumamahe@purdue.edu::bae0ce40-ba58-49ae-96cc-3750cbefba2b" providerId="AD" clId="Web-{8DCD1A8B-FEC7-42C9-B869-5D71573D5F38}" dt="2021-12-08T02:10:42.317" v="83" actId="20577"/>
      <pc:docMkLst>
        <pc:docMk/>
      </pc:docMkLst>
      <pc:sldChg chg="modSp">
        <pc:chgData name="Umamahesh, Adithya Bharadwaj" userId="S::aumamahe@purdue.edu::bae0ce40-ba58-49ae-96cc-3750cbefba2b" providerId="AD" clId="Web-{8DCD1A8B-FEC7-42C9-B869-5D71573D5F38}" dt="2021-12-08T02:10:42.317" v="83" actId="20577"/>
        <pc:sldMkLst>
          <pc:docMk/>
          <pc:sldMk cId="3064393112" sldId="423"/>
        </pc:sldMkLst>
        <pc:spChg chg="mod">
          <ac:chgData name="Umamahesh, Adithya Bharadwaj" userId="S::aumamahe@purdue.edu::bae0ce40-ba58-49ae-96cc-3750cbefba2b" providerId="AD" clId="Web-{8DCD1A8B-FEC7-42C9-B869-5D71573D5F38}" dt="2021-12-08T02:10:42.317" v="83" actId="20577"/>
          <ac:spMkLst>
            <pc:docMk/>
            <pc:sldMk cId="3064393112" sldId="423"/>
            <ac:spMk id="25" creationId="{8FE9C847-1B93-43A3-B916-E78713906795}"/>
          </ac:spMkLst>
        </pc:spChg>
      </pc:sldChg>
    </pc:docChg>
  </pc:docChgLst>
  <pc:docChgLst>
    <pc:chgData name="Jain, Shreyansh" userId="S::jain475@purdue.edu::2845c589-ff3c-4dee-bf29-f4bc1a5e1ae1" providerId="AD" clId="Web-{48DC136F-D32A-46E3-B0E1-FB114E40E0F4}"/>
    <pc:docChg chg="modSld">
      <pc:chgData name="Jain, Shreyansh" userId="S::jain475@purdue.edu::2845c589-ff3c-4dee-bf29-f4bc1a5e1ae1" providerId="AD" clId="Web-{48DC136F-D32A-46E3-B0E1-FB114E40E0F4}" dt="2021-12-08T15:03:02.141" v="1"/>
      <pc:docMkLst>
        <pc:docMk/>
      </pc:docMkLst>
      <pc:sldChg chg="addSp delSp">
        <pc:chgData name="Jain, Shreyansh" userId="S::jain475@purdue.edu::2845c589-ff3c-4dee-bf29-f4bc1a5e1ae1" providerId="AD" clId="Web-{48DC136F-D32A-46E3-B0E1-FB114E40E0F4}" dt="2021-12-08T15:03:02.141" v="1"/>
        <pc:sldMkLst>
          <pc:docMk/>
          <pc:sldMk cId="953384855" sldId="2698"/>
        </pc:sldMkLst>
        <pc:spChg chg="add del">
          <ac:chgData name="Jain, Shreyansh" userId="S::jain475@purdue.edu::2845c589-ff3c-4dee-bf29-f4bc1a5e1ae1" providerId="AD" clId="Web-{48DC136F-D32A-46E3-B0E1-FB114E40E0F4}" dt="2021-12-08T15:03:02.141" v="1"/>
          <ac:spMkLst>
            <pc:docMk/>
            <pc:sldMk cId="953384855" sldId="2698"/>
            <ac:spMk id="4" creationId="{DB48CAF7-B840-41CB-A11F-9C1968A1859E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7A6297-6AA6-4912-806B-B6FAF125E88E}" type="datetimeFigureOut">
              <a:rPr lang="en-IN" smtClean="0"/>
              <a:t>08-12-2021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7632ED-DAA1-4DA2-9CC1-89022921D89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88746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0A9203-D746-4BFC-B9B5-B43B8CA89C7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25007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50085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7632ED-DAA1-4DA2-9CC1-89022921D89D}" type="slidenum">
              <a:rPr lang="en-IN" smtClean="0"/>
              <a:t>9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273281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0A9203-D746-4BFC-B9B5-B43B8CA89C7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0828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0A9203-D746-4BFC-B9B5-B43B8CA89C74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8197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0A9203-D746-4BFC-B9B5-B43B8CA89C74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6744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617963-FFC6-4F7F-B6E2-DB294DCD12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2A87527-E2AE-4681-9651-063A5C03F7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A53AA2-D962-4872-9BD4-EB1A961394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26D643-FE4C-472B-8E74-D3169148AC60}" type="datetimeFigureOut">
              <a:rPr lang="en-IN" smtClean="0"/>
              <a:t>08-12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D0C0DF-EBA6-4599-8DE1-B845619D4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74035B-86F7-4D98-B3CE-0491828A9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94B41-2AC8-480F-9F34-068085B5371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292914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DC2B85-3A90-4388-B4C5-F79CA1C80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0062AEF-E4FE-41E5-B8FC-117E1E8E69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AA85C3-F018-4B39-B2C0-CBE54100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26D643-FE4C-472B-8E74-D3169148AC60}" type="datetimeFigureOut">
              <a:rPr lang="en-IN" smtClean="0"/>
              <a:t>08-12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3D180-2F45-4E9C-95D6-066ED76D2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07DC36-2F36-4366-B8B6-4AA2137F3B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94B41-2AC8-480F-9F34-068085B5371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104521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AB37C02-E52F-4EBB-8BA3-0B6B265B74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3B943A-22AC-477E-B832-C124501DDC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553E95-74BB-4C91-A485-1E9DBE2CF7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26D643-FE4C-472B-8E74-D3169148AC60}" type="datetimeFigureOut">
              <a:rPr lang="en-IN" smtClean="0"/>
              <a:t>08-12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5D4662-1F20-40FA-A788-D4EC99EF4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D77BF4-7990-4747-95B3-FFFB238B22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94B41-2AC8-480F-9F34-068085B5371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246552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7212E27-17FE-4F86-86CB-625F0B6A65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7212E27-17FE-4F86-86CB-625F0B6A6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28D6B75-E7B6-4BF6-928E-A1A42232CB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1" i="0" baseline="0" err="1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Placeholder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0560" y="237070"/>
            <a:ext cx="11630880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400"/>
            </a:lvl1pPr>
          </a:lstStyle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72985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Title and Sub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335558" y="279385"/>
            <a:ext cx="11500843" cy="36988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44726" indent="0">
              <a:buNone/>
              <a:defRPr sz="1477"/>
            </a:lvl2pPr>
            <a:lvl3pPr marL="496777" indent="0">
              <a:buNone/>
              <a:defRPr sz="1477"/>
            </a:lvl3pPr>
            <a:lvl4pPr marL="747365" indent="0">
              <a:buNone/>
              <a:defRPr sz="1477"/>
            </a:lvl4pPr>
            <a:lvl5pPr marL="993556" indent="0">
              <a:buNone/>
              <a:defRPr sz="1477"/>
            </a:lvl5pPr>
          </a:lstStyle>
          <a:p>
            <a:pPr lvl="0"/>
            <a:r>
              <a:rPr lang="en-US"/>
              <a:t>Click to edit Chapter nam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34436" y="1115847"/>
            <a:ext cx="9459258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1800" b="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678755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5462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E7E01617-EF19-DC4E-A132-EB0DE07BB9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23085"/>
            <a:ext cx="10515600" cy="580806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C5BF38EF-96F0-E840-9920-CE402EBE9E72}"/>
              </a:ext>
            </a:extLst>
          </p:cNvPr>
          <p:cNvSpPr/>
          <p:nvPr userDrawn="1"/>
        </p:nvSpPr>
        <p:spPr>
          <a:xfrm>
            <a:off x="393701" y="2555644"/>
            <a:ext cx="2578099" cy="2713542"/>
          </a:xfrm>
          <a:prstGeom prst="blockArc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60AA612-243F-E64D-9941-82A45D827B7B}"/>
              </a:ext>
            </a:extLst>
          </p:cNvPr>
          <p:cNvSpPr/>
          <p:nvPr userDrawn="1"/>
        </p:nvSpPr>
        <p:spPr>
          <a:xfrm>
            <a:off x="770733" y="2921000"/>
            <a:ext cx="1826978" cy="182697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Block Arc 18">
            <a:extLst>
              <a:ext uri="{FF2B5EF4-FFF2-40B4-BE49-F238E27FC236}">
                <a16:creationId xmlns:a16="http://schemas.microsoft.com/office/drawing/2014/main" id="{8956BECE-6ED5-7741-BA2D-98657AD10468}"/>
              </a:ext>
            </a:extLst>
          </p:cNvPr>
          <p:cNvSpPr/>
          <p:nvPr userDrawn="1"/>
        </p:nvSpPr>
        <p:spPr>
          <a:xfrm rot="10800000">
            <a:off x="2597711" y="2555644"/>
            <a:ext cx="2578099" cy="2713542"/>
          </a:xfrm>
          <a:prstGeom prst="blockArc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8889D48E-98B3-D14B-9AFF-17FE3256FB10}"/>
              </a:ext>
            </a:extLst>
          </p:cNvPr>
          <p:cNvSpPr/>
          <p:nvPr userDrawn="1"/>
        </p:nvSpPr>
        <p:spPr>
          <a:xfrm rot="10800000">
            <a:off x="2971800" y="2998926"/>
            <a:ext cx="1826978" cy="182697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Block Arc 20">
            <a:extLst>
              <a:ext uri="{FF2B5EF4-FFF2-40B4-BE49-F238E27FC236}">
                <a16:creationId xmlns:a16="http://schemas.microsoft.com/office/drawing/2014/main" id="{16FDE7D3-4CF9-5C4E-932B-160E466CBD08}"/>
              </a:ext>
            </a:extLst>
          </p:cNvPr>
          <p:cNvSpPr/>
          <p:nvPr userDrawn="1"/>
        </p:nvSpPr>
        <p:spPr>
          <a:xfrm>
            <a:off x="4798777" y="2555644"/>
            <a:ext cx="2578099" cy="2713542"/>
          </a:xfrm>
          <a:prstGeom prst="blockArc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8EC39EB9-63D8-7C40-99FB-8A086D00EEED}"/>
              </a:ext>
            </a:extLst>
          </p:cNvPr>
          <p:cNvSpPr/>
          <p:nvPr userDrawn="1"/>
        </p:nvSpPr>
        <p:spPr>
          <a:xfrm>
            <a:off x="5175809" y="2921000"/>
            <a:ext cx="1826978" cy="182697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Block Arc 22">
            <a:extLst>
              <a:ext uri="{FF2B5EF4-FFF2-40B4-BE49-F238E27FC236}">
                <a16:creationId xmlns:a16="http://schemas.microsoft.com/office/drawing/2014/main" id="{C1061FF9-BB40-034C-B2D9-2FAFC3ACA25B}"/>
              </a:ext>
            </a:extLst>
          </p:cNvPr>
          <p:cNvSpPr/>
          <p:nvPr userDrawn="1"/>
        </p:nvSpPr>
        <p:spPr>
          <a:xfrm rot="10800000">
            <a:off x="7002787" y="2555644"/>
            <a:ext cx="2578099" cy="2713542"/>
          </a:xfrm>
          <a:prstGeom prst="blockArc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A2B2D42-B66A-4F4D-8F16-282A8C69BA08}"/>
              </a:ext>
            </a:extLst>
          </p:cNvPr>
          <p:cNvSpPr/>
          <p:nvPr userDrawn="1"/>
        </p:nvSpPr>
        <p:spPr>
          <a:xfrm rot="10800000">
            <a:off x="7376876" y="2998926"/>
            <a:ext cx="1826978" cy="182697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Block Arc 24">
            <a:extLst>
              <a:ext uri="{FF2B5EF4-FFF2-40B4-BE49-F238E27FC236}">
                <a16:creationId xmlns:a16="http://schemas.microsoft.com/office/drawing/2014/main" id="{3217943B-9636-4A49-8908-BD3EC7B5B706}"/>
              </a:ext>
            </a:extLst>
          </p:cNvPr>
          <p:cNvSpPr/>
          <p:nvPr userDrawn="1"/>
        </p:nvSpPr>
        <p:spPr>
          <a:xfrm>
            <a:off x="9203853" y="2555644"/>
            <a:ext cx="2578099" cy="2713542"/>
          </a:xfrm>
          <a:prstGeom prst="blockArc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737DFDB-EAC3-D342-9FD0-235E7E64CE04}"/>
              </a:ext>
            </a:extLst>
          </p:cNvPr>
          <p:cNvSpPr/>
          <p:nvPr userDrawn="1"/>
        </p:nvSpPr>
        <p:spPr>
          <a:xfrm>
            <a:off x="9580885" y="2921000"/>
            <a:ext cx="1826978" cy="182697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21EB8AE-A81C-BA4A-AED6-4A281FF778D1}"/>
              </a:ext>
            </a:extLst>
          </p:cNvPr>
          <p:cNvSpPr/>
          <p:nvPr userDrawn="1"/>
        </p:nvSpPr>
        <p:spPr>
          <a:xfrm rot="10800000">
            <a:off x="892234" y="3042502"/>
            <a:ext cx="1583974" cy="1583974"/>
          </a:xfrm>
          <a:prstGeom prst="ellipse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975F9A5-4A1D-074F-8D79-53E206A421B4}"/>
              </a:ext>
            </a:extLst>
          </p:cNvPr>
          <p:cNvSpPr/>
          <p:nvPr userDrawn="1"/>
        </p:nvSpPr>
        <p:spPr>
          <a:xfrm rot="10800000">
            <a:off x="1008282" y="3164002"/>
            <a:ext cx="1331505" cy="133150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D9302536-82FA-7E48-818D-CBFA17DDAEB4}"/>
              </a:ext>
            </a:extLst>
          </p:cNvPr>
          <p:cNvSpPr/>
          <p:nvPr userDrawn="1"/>
        </p:nvSpPr>
        <p:spPr>
          <a:xfrm rot="10800000">
            <a:off x="3093301" y="3120428"/>
            <a:ext cx="1583974" cy="1583974"/>
          </a:xfrm>
          <a:prstGeom prst="ellipse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12A6741-6C21-8C42-9FF1-FE316AD4D19F}"/>
              </a:ext>
            </a:extLst>
          </p:cNvPr>
          <p:cNvSpPr/>
          <p:nvPr userDrawn="1"/>
        </p:nvSpPr>
        <p:spPr>
          <a:xfrm rot="10800000">
            <a:off x="5304013" y="3037767"/>
            <a:ext cx="1583974" cy="1583974"/>
          </a:xfrm>
          <a:prstGeom prst="ellipse">
            <a:avLst/>
          </a:prstGeom>
          <a:solidFill>
            <a:srgbClr val="7C7B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96CC1217-5A9D-6142-8487-0845F6286B14}"/>
              </a:ext>
            </a:extLst>
          </p:cNvPr>
          <p:cNvSpPr/>
          <p:nvPr userDrawn="1"/>
        </p:nvSpPr>
        <p:spPr>
          <a:xfrm rot="10800000">
            <a:off x="7505078" y="3120428"/>
            <a:ext cx="1583974" cy="1583974"/>
          </a:xfrm>
          <a:prstGeom prst="ellipse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FDE9CA0B-74AB-354F-A466-2259609683D1}"/>
              </a:ext>
            </a:extLst>
          </p:cNvPr>
          <p:cNvSpPr/>
          <p:nvPr userDrawn="1"/>
        </p:nvSpPr>
        <p:spPr>
          <a:xfrm rot="10800000">
            <a:off x="9695686" y="3037767"/>
            <a:ext cx="1583974" cy="1583974"/>
          </a:xfrm>
          <a:prstGeom prst="ellipse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C7815C5-D168-2348-A2C8-3340E530FDB1}"/>
              </a:ext>
            </a:extLst>
          </p:cNvPr>
          <p:cNvSpPr/>
          <p:nvPr userDrawn="1"/>
        </p:nvSpPr>
        <p:spPr>
          <a:xfrm rot="10800000">
            <a:off x="3219534" y="3246662"/>
            <a:ext cx="1331505" cy="133150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6A14DF22-4001-0A42-ABFD-1E742DDA9151}"/>
              </a:ext>
            </a:extLst>
          </p:cNvPr>
          <p:cNvSpPr/>
          <p:nvPr userDrawn="1"/>
        </p:nvSpPr>
        <p:spPr>
          <a:xfrm rot="10800000">
            <a:off x="5423546" y="3164000"/>
            <a:ext cx="1331505" cy="133150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D8A94DD-278D-094D-95C5-52BD411E9D54}"/>
              </a:ext>
            </a:extLst>
          </p:cNvPr>
          <p:cNvSpPr/>
          <p:nvPr userDrawn="1"/>
        </p:nvSpPr>
        <p:spPr>
          <a:xfrm rot="10800000">
            <a:off x="7631122" y="3246661"/>
            <a:ext cx="1331505" cy="133150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37455E0B-CF3D-6B4B-8BCF-44F9698EB4A4}"/>
              </a:ext>
            </a:extLst>
          </p:cNvPr>
          <p:cNvSpPr/>
          <p:nvPr userDrawn="1"/>
        </p:nvSpPr>
        <p:spPr>
          <a:xfrm rot="10800000">
            <a:off x="9819403" y="3163999"/>
            <a:ext cx="1331505" cy="133150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BC4089C-7D6C-864F-9121-49CA31A90FE5}"/>
              </a:ext>
            </a:extLst>
          </p:cNvPr>
          <p:cNvSpPr/>
          <p:nvPr userDrawn="1"/>
        </p:nvSpPr>
        <p:spPr>
          <a:xfrm>
            <a:off x="1623709" y="4583449"/>
            <a:ext cx="121024" cy="572058"/>
          </a:xfrm>
          <a:prstGeom prst="rect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109E847-574F-494D-8FAE-427F8CAE97CF}"/>
              </a:ext>
            </a:extLst>
          </p:cNvPr>
          <p:cNvSpPr/>
          <p:nvPr userDrawn="1"/>
        </p:nvSpPr>
        <p:spPr>
          <a:xfrm>
            <a:off x="3824774" y="2548369"/>
            <a:ext cx="121024" cy="572058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9D8C32D-0B0D-DF4A-B371-511B230BD211}"/>
              </a:ext>
            </a:extLst>
          </p:cNvPr>
          <p:cNvSpPr/>
          <p:nvPr userDrawn="1"/>
        </p:nvSpPr>
        <p:spPr>
          <a:xfrm>
            <a:off x="6035487" y="4621738"/>
            <a:ext cx="121024" cy="572058"/>
          </a:xfrm>
          <a:prstGeom prst="rect">
            <a:avLst/>
          </a:prstGeom>
          <a:solidFill>
            <a:srgbClr val="7C7B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7415378-1541-3E4B-9E62-70FE844DEE7C}"/>
              </a:ext>
            </a:extLst>
          </p:cNvPr>
          <p:cNvSpPr/>
          <p:nvPr userDrawn="1"/>
        </p:nvSpPr>
        <p:spPr>
          <a:xfrm>
            <a:off x="8229853" y="2555644"/>
            <a:ext cx="121024" cy="572058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4F9DE7B-8949-EB4A-B888-D15EABCF5294}"/>
              </a:ext>
            </a:extLst>
          </p:cNvPr>
          <p:cNvSpPr/>
          <p:nvPr userDrawn="1"/>
        </p:nvSpPr>
        <p:spPr>
          <a:xfrm>
            <a:off x="10427162" y="4621738"/>
            <a:ext cx="121024" cy="572058"/>
          </a:xfrm>
          <a:prstGeom prst="rect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A33E921-0B0C-224C-8C48-CE135C53E9E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186063" y="3382913"/>
            <a:ext cx="1360488" cy="1317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7200" b="1">
                <a:solidFill>
                  <a:srgbClr val="ED7D3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sz="7200" b="1"/>
              <a:t>2</a:t>
            </a:r>
            <a:endParaRPr lang="en-US"/>
          </a:p>
        </p:txBody>
      </p:sp>
      <p:sp>
        <p:nvSpPr>
          <p:cNvPr id="54" name="Content Placeholder 52">
            <a:extLst>
              <a:ext uri="{FF2B5EF4-FFF2-40B4-BE49-F238E27FC236}">
                <a16:creationId xmlns:a16="http://schemas.microsoft.com/office/drawing/2014/main" id="{9C158DD2-4D7B-6A4F-8B62-13F838E9D72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407582" y="3304113"/>
            <a:ext cx="1360488" cy="1317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7200" b="1">
                <a:solidFill>
                  <a:srgbClr val="7C7B7D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sz="7200" b="1"/>
              <a:t>3</a:t>
            </a:r>
            <a:endParaRPr lang="en-US"/>
          </a:p>
        </p:txBody>
      </p:sp>
      <p:sp>
        <p:nvSpPr>
          <p:cNvPr id="55" name="Content Placeholder 52">
            <a:extLst>
              <a:ext uri="{FF2B5EF4-FFF2-40B4-BE49-F238E27FC236}">
                <a16:creationId xmlns:a16="http://schemas.microsoft.com/office/drawing/2014/main" id="{C2493382-3806-5542-B579-E9926181ABD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012553" y="3302231"/>
            <a:ext cx="1360488" cy="1317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7200" b="1">
                <a:solidFill>
                  <a:srgbClr val="44536A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sz="7200" b="1"/>
              <a:t>1</a:t>
            </a:r>
            <a:endParaRPr lang="en-US"/>
          </a:p>
        </p:txBody>
      </p:sp>
      <p:sp>
        <p:nvSpPr>
          <p:cNvPr id="56" name="Content Placeholder 52">
            <a:extLst>
              <a:ext uri="{FF2B5EF4-FFF2-40B4-BE49-F238E27FC236}">
                <a16:creationId xmlns:a16="http://schemas.microsoft.com/office/drawing/2014/main" id="{A78F5654-5911-2848-8E46-87D900C62C2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610121" y="3430353"/>
            <a:ext cx="1360488" cy="1317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7200" b="1">
                <a:solidFill>
                  <a:srgbClr val="ED7D3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sz="7200" b="1"/>
              <a:t>4</a:t>
            </a:r>
            <a:endParaRPr lang="en-US"/>
          </a:p>
        </p:txBody>
      </p:sp>
      <p:sp>
        <p:nvSpPr>
          <p:cNvPr id="57" name="Content Placeholder 52">
            <a:extLst>
              <a:ext uri="{FF2B5EF4-FFF2-40B4-BE49-F238E27FC236}">
                <a16:creationId xmlns:a16="http://schemas.microsoft.com/office/drawing/2014/main" id="{B79E60AB-45C3-AE44-8411-D271F991F2F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814130" y="3297135"/>
            <a:ext cx="1360488" cy="1317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7200" b="1">
                <a:solidFill>
                  <a:srgbClr val="44536A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sz="7200" b="1"/>
              <a:t>5</a:t>
            </a:r>
            <a:endParaRPr lang="en-US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CBF621AF-C719-BE47-8E64-EA0C75027FD8}"/>
              </a:ext>
            </a:extLst>
          </p:cNvPr>
          <p:cNvSpPr/>
          <p:nvPr userDrawn="1"/>
        </p:nvSpPr>
        <p:spPr>
          <a:xfrm rot="10800000">
            <a:off x="1526274" y="5120291"/>
            <a:ext cx="312952" cy="312952"/>
          </a:xfrm>
          <a:prstGeom prst="ellipse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55621BC-6E19-FC48-A5BC-3E5CE2172F30}"/>
              </a:ext>
            </a:extLst>
          </p:cNvPr>
          <p:cNvSpPr/>
          <p:nvPr userDrawn="1"/>
        </p:nvSpPr>
        <p:spPr>
          <a:xfrm rot="10800000">
            <a:off x="3728810" y="2381306"/>
            <a:ext cx="312952" cy="312952"/>
          </a:xfrm>
          <a:prstGeom prst="ellipse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549487CD-5979-724E-AAEF-949D213D7838}"/>
              </a:ext>
            </a:extLst>
          </p:cNvPr>
          <p:cNvSpPr/>
          <p:nvPr userDrawn="1"/>
        </p:nvSpPr>
        <p:spPr>
          <a:xfrm rot="10800000">
            <a:off x="5931350" y="5112710"/>
            <a:ext cx="312952" cy="312952"/>
          </a:xfrm>
          <a:prstGeom prst="ellipse">
            <a:avLst/>
          </a:prstGeom>
          <a:solidFill>
            <a:srgbClr val="7C7B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65E18E7D-655E-894C-B86F-F8E4EAA84B05}"/>
              </a:ext>
            </a:extLst>
          </p:cNvPr>
          <p:cNvSpPr/>
          <p:nvPr userDrawn="1"/>
        </p:nvSpPr>
        <p:spPr>
          <a:xfrm rot="10800000">
            <a:off x="8133886" y="2374356"/>
            <a:ext cx="312952" cy="312952"/>
          </a:xfrm>
          <a:prstGeom prst="ellipse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225ECBA9-4BE6-0B40-97DC-51EEB827044D}"/>
              </a:ext>
            </a:extLst>
          </p:cNvPr>
          <p:cNvSpPr/>
          <p:nvPr userDrawn="1"/>
        </p:nvSpPr>
        <p:spPr>
          <a:xfrm rot="10800000">
            <a:off x="10328679" y="5112710"/>
            <a:ext cx="312952" cy="312952"/>
          </a:xfrm>
          <a:prstGeom prst="ellipse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Content Placeholder 63">
            <a:extLst>
              <a:ext uri="{FF2B5EF4-FFF2-40B4-BE49-F238E27FC236}">
                <a16:creationId xmlns:a16="http://schemas.microsoft.com/office/drawing/2014/main" id="{FBE92319-F5F0-424F-8062-F96ABE6F42E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23865" y="5443524"/>
            <a:ext cx="2700338" cy="1190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/>
                </a:solidFill>
              </a:defRPr>
            </a:lvl2pPr>
            <a:lvl3pPr marL="914400" indent="0">
              <a:buNone/>
              <a:defRPr sz="2000">
                <a:solidFill>
                  <a:schemeClr val="tx1"/>
                </a:solidFill>
              </a:defRPr>
            </a:lvl3pPr>
            <a:lvl4pPr marL="1371600" indent="0">
              <a:buNone/>
              <a:defRPr sz="2000">
                <a:solidFill>
                  <a:schemeClr val="tx1"/>
                </a:solidFill>
              </a:defRPr>
            </a:lvl4pPr>
            <a:lvl5pPr marL="1828800" indent="0">
              <a:buNone/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Content Placeholder 63">
            <a:extLst>
              <a:ext uri="{FF2B5EF4-FFF2-40B4-BE49-F238E27FC236}">
                <a16:creationId xmlns:a16="http://schemas.microsoft.com/office/drawing/2014/main" id="{91E61772-AA40-884C-A532-81FB71DB209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2603674" y="1158262"/>
            <a:ext cx="2700338" cy="1190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/>
                </a:solidFill>
              </a:defRPr>
            </a:lvl2pPr>
            <a:lvl3pPr marL="914400" indent="0">
              <a:buNone/>
              <a:defRPr sz="2000">
                <a:solidFill>
                  <a:schemeClr val="tx1"/>
                </a:solidFill>
              </a:defRPr>
            </a:lvl3pPr>
            <a:lvl4pPr marL="1371600" indent="0">
              <a:buNone/>
              <a:defRPr sz="2000">
                <a:solidFill>
                  <a:schemeClr val="tx1"/>
                </a:solidFill>
              </a:defRPr>
            </a:lvl4pPr>
            <a:lvl5pPr marL="1828800" indent="0">
              <a:buNone/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Content Placeholder 63">
            <a:extLst>
              <a:ext uri="{FF2B5EF4-FFF2-40B4-BE49-F238E27FC236}">
                <a16:creationId xmlns:a16="http://schemas.microsoft.com/office/drawing/2014/main" id="{7963C0BC-0A6F-FD4F-AFE7-A6B01852120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40193" y="1158262"/>
            <a:ext cx="2700338" cy="1190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/>
                </a:solidFill>
              </a:defRPr>
            </a:lvl2pPr>
            <a:lvl3pPr marL="914400" indent="0">
              <a:buNone/>
              <a:defRPr sz="2000">
                <a:solidFill>
                  <a:schemeClr val="tx1"/>
                </a:solidFill>
              </a:defRPr>
            </a:lvl3pPr>
            <a:lvl4pPr marL="1371600" indent="0">
              <a:buNone/>
              <a:defRPr sz="2000">
                <a:solidFill>
                  <a:schemeClr val="tx1"/>
                </a:solidFill>
              </a:defRPr>
            </a:lvl4pPr>
            <a:lvl5pPr marL="1828800" indent="0">
              <a:buNone/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Content Placeholder 63">
            <a:extLst>
              <a:ext uri="{FF2B5EF4-FFF2-40B4-BE49-F238E27FC236}">
                <a16:creationId xmlns:a16="http://schemas.microsoft.com/office/drawing/2014/main" id="{15AED734-E88F-F946-8763-9D05E7D69EC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76538" y="5440825"/>
            <a:ext cx="2700338" cy="1190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/>
                </a:solidFill>
              </a:defRPr>
            </a:lvl2pPr>
            <a:lvl3pPr marL="914400" indent="0">
              <a:buNone/>
              <a:defRPr sz="2000">
                <a:solidFill>
                  <a:schemeClr val="tx1"/>
                </a:solidFill>
              </a:defRPr>
            </a:lvl3pPr>
            <a:lvl4pPr marL="1371600" indent="0">
              <a:buNone/>
              <a:defRPr sz="2000">
                <a:solidFill>
                  <a:schemeClr val="tx1"/>
                </a:solidFill>
              </a:defRPr>
            </a:lvl4pPr>
            <a:lvl5pPr marL="1828800" indent="0">
              <a:buNone/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Content Placeholder 63">
            <a:extLst>
              <a:ext uri="{FF2B5EF4-FFF2-40B4-BE49-F238E27FC236}">
                <a16:creationId xmlns:a16="http://schemas.microsoft.com/office/drawing/2014/main" id="{DB527739-0298-0B46-84A5-3609CED0124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29211" y="5425937"/>
            <a:ext cx="2700338" cy="1190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/>
                </a:solidFill>
              </a:defRPr>
            </a:lvl2pPr>
            <a:lvl3pPr marL="914400" indent="0">
              <a:buNone/>
              <a:defRPr sz="2000">
                <a:solidFill>
                  <a:schemeClr val="tx1"/>
                </a:solidFill>
              </a:defRPr>
            </a:lvl3pPr>
            <a:lvl4pPr marL="1371600" indent="0">
              <a:buNone/>
              <a:defRPr sz="2000">
                <a:solidFill>
                  <a:schemeClr val="tx1"/>
                </a:solidFill>
              </a:defRPr>
            </a:lvl4pPr>
            <a:lvl5pPr marL="1828800" indent="0">
              <a:buNone/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F71C8F37-1573-EA4D-A74F-D8DAFA8150AC}"/>
              </a:ext>
            </a:extLst>
          </p:cNvPr>
          <p:cNvSpPr/>
          <p:nvPr userDrawn="1"/>
        </p:nvSpPr>
        <p:spPr>
          <a:xfrm rot="10800000" flipV="1">
            <a:off x="1593972" y="5185996"/>
            <a:ext cx="181542" cy="1815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D809D9FA-62A4-424A-BDC3-A487A38C5B6C}"/>
              </a:ext>
            </a:extLst>
          </p:cNvPr>
          <p:cNvSpPr/>
          <p:nvPr userDrawn="1"/>
        </p:nvSpPr>
        <p:spPr>
          <a:xfrm rot="10800000" flipV="1">
            <a:off x="5996702" y="5185996"/>
            <a:ext cx="181542" cy="181542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16B4F832-A5A2-5640-98EC-27F2766AFC93}"/>
              </a:ext>
            </a:extLst>
          </p:cNvPr>
          <p:cNvSpPr/>
          <p:nvPr userDrawn="1"/>
        </p:nvSpPr>
        <p:spPr>
          <a:xfrm rot="10800000" flipV="1">
            <a:off x="10395454" y="5182452"/>
            <a:ext cx="181542" cy="1815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94534D1F-F705-7E4B-9ACE-9AF7C6DF8C1B}"/>
              </a:ext>
            </a:extLst>
          </p:cNvPr>
          <p:cNvSpPr/>
          <p:nvPr userDrawn="1"/>
        </p:nvSpPr>
        <p:spPr>
          <a:xfrm rot="10800000" flipV="1">
            <a:off x="3795674" y="2447011"/>
            <a:ext cx="181542" cy="1815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47E93BB6-E572-DC42-AF92-1D70E363D914}"/>
              </a:ext>
            </a:extLst>
          </p:cNvPr>
          <p:cNvSpPr/>
          <p:nvPr userDrawn="1"/>
        </p:nvSpPr>
        <p:spPr>
          <a:xfrm rot="10800000" flipV="1">
            <a:off x="8199591" y="2439404"/>
            <a:ext cx="181542" cy="1815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0853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82548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5256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913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740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9FCF5E-8074-4870-B975-03B5FDAF37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0024B7-3267-4223-B1FE-04C24E114E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72D751-E720-49FF-BFC2-4FAD0D8BF3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26D643-FE4C-472B-8E74-D3169148AC60}" type="datetimeFigureOut">
              <a:rPr lang="en-IN" smtClean="0"/>
              <a:t>08-12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F264D4-E6AE-4F8C-85D0-7A06549340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0F10D5-E9B0-41A1-83AA-F1665839C6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94B41-2AC8-480F-9F34-068085B5371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854161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6885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1252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3360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6693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8040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8786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5714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1784811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4998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8091031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D1C9F8-95AF-4A66-B6B1-8CE047CBA4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EED9B7-3820-45A6-A9F5-A39539A4C0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3D8F24-CF9E-44BA-A1A8-0807AD8900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26D643-FE4C-472B-8E74-D3169148AC60}" type="datetimeFigureOut">
              <a:rPr lang="en-IN" smtClean="0"/>
              <a:t>08-12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B16845-16A9-4DDA-9663-73E9B284AE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30463C-36F4-469A-BE01-A6B63A03C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94B41-2AC8-480F-9F34-068085B5371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58351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8933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7571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4882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99472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E7E01617-EF19-DC4E-A132-EB0DE07BB9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23085"/>
            <a:ext cx="10515600" cy="580806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C5BF38EF-96F0-E840-9920-CE402EBE9E72}"/>
              </a:ext>
            </a:extLst>
          </p:cNvPr>
          <p:cNvSpPr/>
          <p:nvPr userDrawn="1"/>
        </p:nvSpPr>
        <p:spPr>
          <a:xfrm>
            <a:off x="393701" y="2555644"/>
            <a:ext cx="2578099" cy="2713542"/>
          </a:xfrm>
          <a:prstGeom prst="blockArc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60AA612-243F-E64D-9941-82A45D827B7B}"/>
              </a:ext>
            </a:extLst>
          </p:cNvPr>
          <p:cNvSpPr/>
          <p:nvPr userDrawn="1"/>
        </p:nvSpPr>
        <p:spPr>
          <a:xfrm>
            <a:off x="770733" y="2921000"/>
            <a:ext cx="1826978" cy="182697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Block Arc 18">
            <a:extLst>
              <a:ext uri="{FF2B5EF4-FFF2-40B4-BE49-F238E27FC236}">
                <a16:creationId xmlns:a16="http://schemas.microsoft.com/office/drawing/2014/main" id="{8956BECE-6ED5-7741-BA2D-98657AD10468}"/>
              </a:ext>
            </a:extLst>
          </p:cNvPr>
          <p:cNvSpPr/>
          <p:nvPr userDrawn="1"/>
        </p:nvSpPr>
        <p:spPr>
          <a:xfrm rot="10800000">
            <a:off x="2597711" y="2555644"/>
            <a:ext cx="2578099" cy="2713542"/>
          </a:xfrm>
          <a:prstGeom prst="blockArc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8889D48E-98B3-D14B-9AFF-17FE3256FB10}"/>
              </a:ext>
            </a:extLst>
          </p:cNvPr>
          <p:cNvSpPr/>
          <p:nvPr userDrawn="1"/>
        </p:nvSpPr>
        <p:spPr>
          <a:xfrm rot="10800000">
            <a:off x="2971800" y="2998926"/>
            <a:ext cx="1826978" cy="182697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Block Arc 20">
            <a:extLst>
              <a:ext uri="{FF2B5EF4-FFF2-40B4-BE49-F238E27FC236}">
                <a16:creationId xmlns:a16="http://schemas.microsoft.com/office/drawing/2014/main" id="{16FDE7D3-4CF9-5C4E-932B-160E466CBD08}"/>
              </a:ext>
            </a:extLst>
          </p:cNvPr>
          <p:cNvSpPr/>
          <p:nvPr userDrawn="1"/>
        </p:nvSpPr>
        <p:spPr>
          <a:xfrm>
            <a:off x="4798777" y="2555644"/>
            <a:ext cx="2578099" cy="2713542"/>
          </a:xfrm>
          <a:prstGeom prst="blockArc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8EC39EB9-63D8-7C40-99FB-8A086D00EEED}"/>
              </a:ext>
            </a:extLst>
          </p:cNvPr>
          <p:cNvSpPr/>
          <p:nvPr userDrawn="1"/>
        </p:nvSpPr>
        <p:spPr>
          <a:xfrm>
            <a:off x="5175809" y="2921000"/>
            <a:ext cx="1826978" cy="182697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Block Arc 22">
            <a:extLst>
              <a:ext uri="{FF2B5EF4-FFF2-40B4-BE49-F238E27FC236}">
                <a16:creationId xmlns:a16="http://schemas.microsoft.com/office/drawing/2014/main" id="{C1061FF9-BB40-034C-B2D9-2FAFC3ACA25B}"/>
              </a:ext>
            </a:extLst>
          </p:cNvPr>
          <p:cNvSpPr/>
          <p:nvPr userDrawn="1"/>
        </p:nvSpPr>
        <p:spPr>
          <a:xfrm rot="10800000">
            <a:off x="7002787" y="2555644"/>
            <a:ext cx="2578099" cy="2713542"/>
          </a:xfrm>
          <a:prstGeom prst="blockArc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A2B2D42-B66A-4F4D-8F16-282A8C69BA08}"/>
              </a:ext>
            </a:extLst>
          </p:cNvPr>
          <p:cNvSpPr/>
          <p:nvPr userDrawn="1"/>
        </p:nvSpPr>
        <p:spPr>
          <a:xfrm rot="10800000">
            <a:off x="7376876" y="2998926"/>
            <a:ext cx="1826978" cy="182697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Block Arc 24">
            <a:extLst>
              <a:ext uri="{FF2B5EF4-FFF2-40B4-BE49-F238E27FC236}">
                <a16:creationId xmlns:a16="http://schemas.microsoft.com/office/drawing/2014/main" id="{3217943B-9636-4A49-8908-BD3EC7B5B706}"/>
              </a:ext>
            </a:extLst>
          </p:cNvPr>
          <p:cNvSpPr/>
          <p:nvPr userDrawn="1"/>
        </p:nvSpPr>
        <p:spPr>
          <a:xfrm>
            <a:off x="9203853" y="2555644"/>
            <a:ext cx="2578099" cy="2713542"/>
          </a:xfrm>
          <a:prstGeom prst="blockArc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737DFDB-EAC3-D342-9FD0-235E7E64CE04}"/>
              </a:ext>
            </a:extLst>
          </p:cNvPr>
          <p:cNvSpPr/>
          <p:nvPr userDrawn="1"/>
        </p:nvSpPr>
        <p:spPr>
          <a:xfrm>
            <a:off x="9580885" y="2921000"/>
            <a:ext cx="1826978" cy="182697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21EB8AE-A81C-BA4A-AED6-4A281FF778D1}"/>
              </a:ext>
            </a:extLst>
          </p:cNvPr>
          <p:cNvSpPr/>
          <p:nvPr userDrawn="1"/>
        </p:nvSpPr>
        <p:spPr>
          <a:xfrm rot="10800000">
            <a:off x="892234" y="3042502"/>
            <a:ext cx="1583974" cy="1583974"/>
          </a:xfrm>
          <a:prstGeom prst="ellipse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975F9A5-4A1D-074F-8D79-53E206A421B4}"/>
              </a:ext>
            </a:extLst>
          </p:cNvPr>
          <p:cNvSpPr/>
          <p:nvPr userDrawn="1"/>
        </p:nvSpPr>
        <p:spPr>
          <a:xfrm rot="10800000">
            <a:off x="1008282" y="3164002"/>
            <a:ext cx="1331505" cy="133150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D9302536-82FA-7E48-818D-CBFA17DDAEB4}"/>
              </a:ext>
            </a:extLst>
          </p:cNvPr>
          <p:cNvSpPr/>
          <p:nvPr userDrawn="1"/>
        </p:nvSpPr>
        <p:spPr>
          <a:xfrm rot="10800000">
            <a:off x="3093301" y="3120428"/>
            <a:ext cx="1583974" cy="1583974"/>
          </a:xfrm>
          <a:prstGeom prst="ellipse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12A6741-6C21-8C42-9FF1-FE316AD4D19F}"/>
              </a:ext>
            </a:extLst>
          </p:cNvPr>
          <p:cNvSpPr/>
          <p:nvPr userDrawn="1"/>
        </p:nvSpPr>
        <p:spPr>
          <a:xfrm rot="10800000">
            <a:off x="5304013" y="3037767"/>
            <a:ext cx="1583974" cy="1583974"/>
          </a:xfrm>
          <a:prstGeom prst="ellipse">
            <a:avLst/>
          </a:prstGeom>
          <a:solidFill>
            <a:srgbClr val="7C7B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96CC1217-5A9D-6142-8487-0845F6286B14}"/>
              </a:ext>
            </a:extLst>
          </p:cNvPr>
          <p:cNvSpPr/>
          <p:nvPr userDrawn="1"/>
        </p:nvSpPr>
        <p:spPr>
          <a:xfrm rot="10800000">
            <a:off x="7505078" y="3120428"/>
            <a:ext cx="1583974" cy="1583974"/>
          </a:xfrm>
          <a:prstGeom prst="ellipse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FDE9CA0B-74AB-354F-A466-2259609683D1}"/>
              </a:ext>
            </a:extLst>
          </p:cNvPr>
          <p:cNvSpPr/>
          <p:nvPr userDrawn="1"/>
        </p:nvSpPr>
        <p:spPr>
          <a:xfrm rot="10800000">
            <a:off x="9695686" y="3037767"/>
            <a:ext cx="1583974" cy="1583974"/>
          </a:xfrm>
          <a:prstGeom prst="ellipse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C7815C5-D168-2348-A2C8-3340E530FDB1}"/>
              </a:ext>
            </a:extLst>
          </p:cNvPr>
          <p:cNvSpPr/>
          <p:nvPr userDrawn="1"/>
        </p:nvSpPr>
        <p:spPr>
          <a:xfrm rot="10800000">
            <a:off x="3219534" y="3246662"/>
            <a:ext cx="1331505" cy="133150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6A14DF22-4001-0A42-ABFD-1E742DDA9151}"/>
              </a:ext>
            </a:extLst>
          </p:cNvPr>
          <p:cNvSpPr/>
          <p:nvPr userDrawn="1"/>
        </p:nvSpPr>
        <p:spPr>
          <a:xfrm rot="10800000">
            <a:off x="5423546" y="3164000"/>
            <a:ext cx="1331505" cy="133150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D8A94DD-278D-094D-95C5-52BD411E9D54}"/>
              </a:ext>
            </a:extLst>
          </p:cNvPr>
          <p:cNvSpPr/>
          <p:nvPr userDrawn="1"/>
        </p:nvSpPr>
        <p:spPr>
          <a:xfrm rot="10800000">
            <a:off x="7631122" y="3246661"/>
            <a:ext cx="1331505" cy="133150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37455E0B-CF3D-6B4B-8BCF-44F9698EB4A4}"/>
              </a:ext>
            </a:extLst>
          </p:cNvPr>
          <p:cNvSpPr/>
          <p:nvPr userDrawn="1"/>
        </p:nvSpPr>
        <p:spPr>
          <a:xfrm rot="10800000">
            <a:off x="9819403" y="3163999"/>
            <a:ext cx="1331505" cy="133150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BC4089C-7D6C-864F-9121-49CA31A90FE5}"/>
              </a:ext>
            </a:extLst>
          </p:cNvPr>
          <p:cNvSpPr/>
          <p:nvPr userDrawn="1"/>
        </p:nvSpPr>
        <p:spPr>
          <a:xfrm>
            <a:off x="1623709" y="4583449"/>
            <a:ext cx="121024" cy="572058"/>
          </a:xfrm>
          <a:prstGeom prst="rect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109E847-574F-494D-8FAE-427F8CAE97CF}"/>
              </a:ext>
            </a:extLst>
          </p:cNvPr>
          <p:cNvSpPr/>
          <p:nvPr userDrawn="1"/>
        </p:nvSpPr>
        <p:spPr>
          <a:xfrm>
            <a:off x="3824774" y="2548369"/>
            <a:ext cx="121024" cy="572058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9D8C32D-0B0D-DF4A-B371-511B230BD211}"/>
              </a:ext>
            </a:extLst>
          </p:cNvPr>
          <p:cNvSpPr/>
          <p:nvPr userDrawn="1"/>
        </p:nvSpPr>
        <p:spPr>
          <a:xfrm>
            <a:off x="6035487" y="4621738"/>
            <a:ext cx="121024" cy="572058"/>
          </a:xfrm>
          <a:prstGeom prst="rect">
            <a:avLst/>
          </a:prstGeom>
          <a:solidFill>
            <a:srgbClr val="7C7B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7415378-1541-3E4B-9E62-70FE844DEE7C}"/>
              </a:ext>
            </a:extLst>
          </p:cNvPr>
          <p:cNvSpPr/>
          <p:nvPr userDrawn="1"/>
        </p:nvSpPr>
        <p:spPr>
          <a:xfrm>
            <a:off x="8229853" y="2555644"/>
            <a:ext cx="121024" cy="572058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4F9DE7B-8949-EB4A-B888-D15EABCF5294}"/>
              </a:ext>
            </a:extLst>
          </p:cNvPr>
          <p:cNvSpPr/>
          <p:nvPr userDrawn="1"/>
        </p:nvSpPr>
        <p:spPr>
          <a:xfrm>
            <a:off x="10427162" y="4621738"/>
            <a:ext cx="121024" cy="572058"/>
          </a:xfrm>
          <a:prstGeom prst="rect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A33E921-0B0C-224C-8C48-CE135C53E9E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186063" y="3382913"/>
            <a:ext cx="1360488" cy="1317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7200" b="1">
                <a:solidFill>
                  <a:srgbClr val="ED7D3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sz="7200" b="1"/>
              <a:t>2</a:t>
            </a:r>
            <a:endParaRPr lang="en-US"/>
          </a:p>
        </p:txBody>
      </p:sp>
      <p:sp>
        <p:nvSpPr>
          <p:cNvPr id="54" name="Content Placeholder 52">
            <a:extLst>
              <a:ext uri="{FF2B5EF4-FFF2-40B4-BE49-F238E27FC236}">
                <a16:creationId xmlns:a16="http://schemas.microsoft.com/office/drawing/2014/main" id="{9C158DD2-4D7B-6A4F-8B62-13F838E9D72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407582" y="3304113"/>
            <a:ext cx="1360488" cy="1317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7200" b="1">
                <a:solidFill>
                  <a:srgbClr val="7C7B7D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sz="7200" b="1"/>
              <a:t>3</a:t>
            </a:r>
            <a:endParaRPr lang="en-US"/>
          </a:p>
        </p:txBody>
      </p:sp>
      <p:sp>
        <p:nvSpPr>
          <p:cNvPr id="55" name="Content Placeholder 52">
            <a:extLst>
              <a:ext uri="{FF2B5EF4-FFF2-40B4-BE49-F238E27FC236}">
                <a16:creationId xmlns:a16="http://schemas.microsoft.com/office/drawing/2014/main" id="{C2493382-3806-5542-B579-E9926181ABD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012553" y="3302231"/>
            <a:ext cx="1360488" cy="1317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7200" b="1">
                <a:solidFill>
                  <a:srgbClr val="44536A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sz="7200" b="1"/>
              <a:t>1</a:t>
            </a:r>
            <a:endParaRPr lang="en-US"/>
          </a:p>
        </p:txBody>
      </p:sp>
      <p:sp>
        <p:nvSpPr>
          <p:cNvPr id="56" name="Content Placeholder 52">
            <a:extLst>
              <a:ext uri="{FF2B5EF4-FFF2-40B4-BE49-F238E27FC236}">
                <a16:creationId xmlns:a16="http://schemas.microsoft.com/office/drawing/2014/main" id="{A78F5654-5911-2848-8E46-87D900C62C2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610121" y="3430353"/>
            <a:ext cx="1360488" cy="1317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7200" b="1">
                <a:solidFill>
                  <a:srgbClr val="ED7D3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sz="7200" b="1"/>
              <a:t>4</a:t>
            </a:r>
            <a:endParaRPr lang="en-US"/>
          </a:p>
        </p:txBody>
      </p:sp>
      <p:sp>
        <p:nvSpPr>
          <p:cNvPr id="57" name="Content Placeholder 52">
            <a:extLst>
              <a:ext uri="{FF2B5EF4-FFF2-40B4-BE49-F238E27FC236}">
                <a16:creationId xmlns:a16="http://schemas.microsoft.com/office/drawing/2014/main" id="{B79E60AB-45C3-AE44-8411-D271F991F2F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814130" y="3297135"/>
            <a:ext cx="1360488" cy="1317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7200" b="1">
                <a:solidFill>
                  <a:srgbClr val="44536A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sz="7200" b="1"/>
              <a:t>5</a:t>
            </a:r>
            <a:endParaRPr lang="en-US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CBF621AF-C719-BE47-8E64-EA0C75027FD8}"/>
              </a:ext>
            </a:extLst>
          </p:cNvPr>
          <p:cNvSpPr/>
          <p:nvPr userDrawn="1"/>
        </p:nvSpPr>
        <p:spPr>
          <a:xfrm rot="10800000">
            <a:off x="1526274" y="5120291"/>
            <a:ext cx="312952" cy="312952"/>
          </a:xfrm>
          <a:prstGeom prst="ellipse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55621BC-6E19-FC48-A5BC-3E5CE2172F30}"/>
              </a:ext>
            </a:extLst>
          </p:cNvPr>
          <p:cNvSpPr/>
          <p:nvPr userDrawn="1"/>
        </p:nvSpPr>
        <p:spPr>
          <a:xfrm rot="10800000">
            <a:off x="3728810" y="2381306"/>
            <a:ext cx="312952" cy="312952"/>
          </a:xfrm>
          <a:prstGeom prst="ellipse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549487CD-5979-724E-AAEF-949D213D7838}"/>
              </a:ext>
            </a:extLst>
          </p:cNvPr>
          <p:cNvSpPr/>
          <p:nvPr userDrawn="1"/>
        </p:nvSpPr>
        <p:spPr>
          <a:xfrm rot="10800000">
            <a:off x="5931350" y="5112710"/>
            <a:ext cx="312952" cy="312952"/>
          </a:xfrm>
          <a:prstGeom prst="ellipse">
            <a:avLst/>
          </a:prstGeom>
          <a:solidFill>
            <a:srgbClr val="7C7B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65E18E7D-655E-894C-B86F-F8E4EAA84B05}"/>
              </a:ext>
            </a:extLst>
          </p:cNvPr>
          <p:cNvSpPr/>
          <p:nvPr userDrawn="1"/>
        </p:nvSpPr>
        <p:spPr>
          <a:xfrm rot="10800000">
            <a:off x="8133886" y="2374356"/>
            <a:ext cx="312952" cy="312952"/>
          </a:xfrm>
          <a:prstGeom prst="ellipse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225ECBA9-4BE6-0B40-97DC-51EEB827044D}"/>
              </a:ext>
            </a:extLst>
          </p:cNvPr>
          <p:cNvSpPr/>
          <p:nvPr userDrawn="1"/>
        </p:nvSpPr>
        <p:spPr>
          <a:xfrm rot="10800000">
            <a:off x="10328679" y="5112710"/>
            <a:ext cx="312952" cy="312952"/>
          </a:xfrm>
          <a:prstGeom prst="ellipse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Content Placeholder 63">
            <a:extLst>
              <a:ext uri="{FF2B5EF4-FFF2-40B4-BE49-F238E27FC236}">
                <a16:creationId xmlns:a16="http://schemas.microsoft.com/office/drawing/2014/main" id="{FBE92319-F5F0-424F-8062-F96ABE6F42E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23865" y="5443524"/>
            <a:ext cx="2700338" cy="1190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/>
                </a:solidFill>
              </a:defRPr>
            </a:lvl2pPr>
            <a:lvl3pPr marL="914400" indent="0">
              <a:buNone/>
              <a:defRPr sz="2000">
                <a:solidFill>
                  <a:schemeClr val="tx1"/>
                </a:solidFill>
              </a:defRPr>
            </a:lvl3pPr>
            <a:lvl4pPr marL="1371600" indent="0">
              <a:buNone/>
              <a:defRPr sz="2000">
                <a:solidFill>
                  <a:schemeClr val="tx1"/>
                </a:solidFill>
              </a:defRPr>
            </a:lvl4pPr>
            <a:lvl5pPr marL="1828800" indent="0">
              <a:buNone/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Content Placeholder 63">
            <a:extLst>
              <a:ext uri="{FF2B5EF4-FFF2-40B4-BE49-F238E27FC236}">
                <a16:creationId xmlns:a16="http://schemas.microsoft.com/office/drawing/2014/main" id="{91E61772-AA40-884C-A532-81FB71DB209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2603674" y="1158262"/>
            <a:ext cx="2700338" cy="1190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/>
                </a:solidFill>
              </a:defRPr>
            </a:lvl2pPr>
            <a:lvl3pPr marL="914400" indent="0">
              <a:buNone/>
              <a:defRPr sz="2000">
                <a:solidFill>
                  <a:schemeClr val="tx1"/>
                </a:solidFill>
              </a:defRPr>
            </a:lvl3pPr>
            <a:lvl4pPr marL="1371600" indent="0">
              <a:buNone/>
              <a:defRPr sz="2000">
                <a:solidFill>
                  <a:schemeClr val="tx1"/>
                </a:solidFill>
              </a:defRPr>
            </a:lvl4pPr>
            <a:lvl5pPr marL="1828800" indent="0">
              <a:buNone/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Content Placeholder 63">
            <a:extLst>
              <a:ext uri="{FF2B5EF4-FFF2-40B4-BE49-F238E27FC236}">
                <a16:creationId xmlns:a16="http://schemas.microsoft.com/office/drawing/2014/main" id="{7963C0BC-0A6F-FD4F-AFE7-A6B01852120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40193" y="1158262"/>
            <a:ext cx="2700338" cy="1190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/>
                </a:solidFill>
              </a:defRPr>
            </a:lvl2pPr>
            <a:lvl3pPr marL="914400" indent="0">
              <a:buNone/>
              <a:defRPr sz="2000">
                <a:solidFill>
                  <a:schemeClr val="tx1"/>
                </a:solidFill>
              </a:defRPr>
            </a:lvl3pPr>
            <a:lvl4pPr marL="1371600" indent="0">
              <a:buNone/>
              <a:defRPr sz="2000">
                <a:solidFill>
                  <a:schemeClr val="tx1"/>
                </a:solidFill>
              </a:defRPr>
            </a:lvl4pPr>
            <a:lvl5pPr marL="1828800" indent="0">
              <a:buNone/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Content Placeholder 63">
            <a:extLst>
              <a:ext uri="{FF2B5EF4-FFF2-40B4-BE49-F238E27FC236}">
                <a16:creationId xmlns:a16="http://schemas.microsoft.com/office/drawing/2014/main" id="{15AED734-E88F-F946-8763-9D05E7D69EC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76538" y="5440825"/>
            <a:ext cx="2700338" cy="1190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/>
                </a:solidFill>
              </a:defRPr>
            </a:lvl2pPr>
            <a:lvl3pPr marL="914400" indent="0">
              <a:buNone/>
              <a:defRPr sz="2000">
                <a:solidFill>
                  <a:schemeClr val="tx1"/>
                </a:solidFill>
              </a:defRPr>
            </a:lvl3pPr>
            <a:lvl4pPr marL="1371600" indent="0">
              <a:buNone/>
              <a:defRPr sz="2000">
                <a:solidFill>
                  <a:schemeClr val="tx1"/>
                </a:solidFill>
              </a:defRPr>
            </a:lvl4pPr>
            <a:lvl5pPr marL="1828800" indent="0">
              <a:buNone/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Content Placeholder 63">
            <a:extLst>
              <a:ext uri="{FF2B5EF4-FFF2-40B4-BE49-F238E27FC236}">
                <a16:creationId xmlns:a16="http://schemas.microsoft.com/office/drawing/2014/main" id="{DB527739-0298-0B46-84A5-3609CED0124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29211" y="5425937"/>
            <a:ext cx="2700338" cy="11906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/>
                </a:solidFill>
              </a:defRPr>
            </a:lvl2pPr>
            <a:lvl3pPr marL="914400" indent="0">
              <a:buNone/>
              <a:defRPr sz="2000">
                <a:solidFill>
                  <a:schemeClr val="tx1"/>
                </a:solidFill>
              </a:defRPr>
            </a:lvl3pPr>
            <a:lvl4pPr marL="1371600" indent="0">
              <a:buNone/>
              <a:defRPr sz="2000">
                <a:solidFill>
                  <a:schemeClr val="tx1"/>
                </a:solidFill>
              </a:defRPr>
            </a:lvl4pPr>
            <a:lvl5pPr marL="1828800" indent="0">
              <a:buNone/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F71C8F37-1573-EA4D-A74F-D8DAFA8150AC}"/>
              </a:ext>
            </a:extLst>
          </p:cNvPr>
          <p:cNvSpPr/>
          <p:nvPr userDrawn="1"/>
        </p:nvSpPr>
        <p:spPr>
          <a:xfrm rot="10800000" flipV="1">
            <a:off x="1593972" y="5185996"/>
            <a:ext cx="181542" cy="1815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D809D9FA-62A4-424A-BDC3-A487A38C5B6C}"/>
              </a:ext>
            </a:extLst>
          </p:cNvPr>
          <p:cNvSpPr/>
          <p:nvPr userDrawn="1"/>
        </p:nvSpPr>
        <p:spPr>
          <a:xfrm rot="10800000" flipV="1">
            <a:off x="5996702" y="5185996"/>
            <a:ext cx="181542" cy="181542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16B4F832-A5A2-5640-98EC-27F2766AFC93}"/>
              </a:ext>
            </a:extLst>
          </p:cNvPr>
          <p:cNvSpPr/>
          <p:nvPr userDrawn="1"/>
        </p:nvSpPr>
        <p:spPr>
          <a:xfrm rot="10800000" flipV="1">
            <a:off x="10395454" y="5182452"/>
            <a:ext cx="181542" cy="1815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94534D1F-F705-7E4B-9ACE-9AF7C6DF8C1B}"/>
              </a:ext>
            </a:extLst>
          </p:cNvPr>
          <p:cNvSpPr/>
          <p:nvPr userDrawn="1"/>
        </p:nvSpPr>
        <p:spPr>
          <a:xfrm rot="10800000" flipV="1">
            <a:off x="3795674" y="2447011"/>
            <a:ext cx="181542" cy="1815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47E93BB6-E572-DC42-AF92-1D70E363D914}"/>
              </a:ext>
            </a:extLst>
          </p:cNvPr>
          <p:cNvSpPr/>
          <p:nvPr userDrawn="1"/>
        </p:nvSpPr>
        <p:spPr>
          <a:xfrm rot="10800000" flipV="1">
            <a:off x="8199591" y="2439404"/>
            <a:ext cx="181542" cy="1815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4048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4E6891-716D-4C1B-9015-5E050EF62B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568750-80CD-4115-8CA5-DBB9AD648B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FD9717-8CB2-4AA4-9C40-5E5EB3BD5D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BF379A-FFE1-4DBC-94A8-4935C58130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4404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Title and Sub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335558" y="279385"/>
            <a:ext cx="11500843" cy="36988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44726" indent="0">
              <a:buNone/>
              <a:defRPr sz="1477"/>
            </a:lvl2pPr>
            <a:lvl3pPr marL="496777" indent="0">
              <a:buNone/>
              <a:defRPr sz="1477"/>
            </a:lvl3pPr>
            <a:lvl4pPr marL="747365" indent="0">
              <a:buNone/>
              <a:defRPr sz="1477"/>
            </a:lvl4pPr>
            <a:lvl5pPr marL="993556" indent="0">
              <a:buNone/>
              <a:defRPr sz="1477"/>
            </a:lvl5pPr>
          </a:lstStyle>
          <a:p>
            <a:pPr lvl="0"/>
            <a:r>
              <a:rPr lang="en-US"/>
              <a:t>Click to edit Chapter nam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34436" y="1115847"/>
            <a:ext cx="9459258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1800" b="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971560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7212E27-17FE-4F86-86CB-625F0B6A65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7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7212E27-17FE-4F86-86CB-625F0B6A6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28D6B75-E7B6-4BF6-928E-A1A42232CB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1" i="0" baseline="0" err="1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Placeholder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0560" y="237070"/>
            <a:ext cx="11630880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400"/>
            </a:lvl1pPr>
          </a:lstStyle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554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40216-721E-45B7-A796-B504B55456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F34B40-9412-4789-B850-716D06117C9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CB44EF7-2975-47B5-B463-A788482A73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770F53-31BF-436D-A053-B96DDF8973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26D643-FE4C-472B-8E74-D3169148AC60}" type="datetimeFigureOut">
              <a:rPr lang="en-IN" smtClean="0"/>
              <a:t>08-12-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2A5720-8BA9-426E-BA4A-B1955A3AA1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7E863E-60F3-4D7A-BC18-918E40E6E1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94B41-2AC8-480F-9F34-068085B5371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737832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03591D-8250-498E-96D5-6F88049B5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8DA72-BB23-466D-A253-B30BEBC295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D505E7-4CA0-47F4-9426-498E85881E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47693-6F48-4D7A-8A92-B4031CE092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BCAB6D-DCE9-4155-89D5-6FF5CFDD777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F41166B-6EA1-446A-911D-534EDDE38B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26D643-FE4C-472B-8E74-D3169148AC60}" type="datetimeFigureOut">
              <a:rPr lang="en-IN" smtClean="0"/>
              <a:t>08-12-2021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E973E4C-3276-4752-B553-CCFD80751D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B952B76-BB0D-4BFD-8661-5307BB9B6A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94B41-2AC8-480F-9F34-068085B5371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978414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2E5E1A-4EBE-40C8-8984-74BEEDDC8D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CC7AEAB-0AE1-47CA-8EBA-28ACA3ADA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26D643-FE4C-472B-8E74-D3169148AC60}" type="datetimeFigureOut">
              <a:rPr lang="en-IN" smtClean="0"/>
              <a:t>08-12-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937661-7044-45F6-95FF-2E45466147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CC73E6-CE4D-48EE-8E54-E176B471F3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94B41-2AC8-480F-9F34-068085B5371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218843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7C3DCBD-6526-4B99-976F-A20D6415B3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26D643-FE4C-472B-8E74-D3169148AC60}" type="datetimeFigureOut">
              <a:rPr lang="en-IN" smtClean="0"/>
              <a:t>08-12-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721428-F9A2-46F5-AA96-5BF6548F7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3355C4-AE56-4C80-B42F-C4B49760D9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94B41-2AC8-480F-9F34-068085B5371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532943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C19335-4232-42A8-A394-8339AA450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2CB736-12C6-4530-8887-6815BF5671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004323-2DA0-456D-A71B-F2BD735DFA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698001-5BE0-43DD-A5F5-31F3541426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26D643-FE4C-472B-8E74-D3169148AC60}" type="datetimeFigureOut">
              <a:rPr lang="en-IN" smtClean="0"/>
              <a:t>08-12-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E107D9-9945-4541-87CC-AB7FB8C232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265CB8-C90A-43EB-9C6A-00F92CBCF0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94B41-2AC8-480F-9F34-068085B5371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788113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1D4703-446A-4B0B-A83E-D9BDC6C002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3A6823-7A6E-4142-B4CE-F66DC2A51F1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99AA8D-40E7-43F0-97F8-962A87CC51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ABDAA2-7F0F-410F-A30B-DBC790D2CB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26D643-FE4C-472B-8E74-D3169148AC60}" type="datetimeFigureOut">
              <a:rPr lang="en-IN" smtClean="0"/>
              <a:t>08-12-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286F79-EA5F-4C4C-ABA5-BA24E1B9C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E596F50-8483-46DB-A55B-98557D529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94B41-2AC8-480F-9F34-068085B5371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360029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E2E803E-0A37-4470-B1A0-ECD575DE58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D65CF9-3E2D-4EC6-BE05-444D384B73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338432-9344-4580-BED1-A146CE1F16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26D643-FE4C-472B-8E74-D3169148AC60}" type="datetimeFigureOut">
              <a:rPr lang="en-IN" smtClean="0"/>
              <a:t>08-12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65F227-46FE-43A8-BBE6-2BF378DC5B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6DE2FE-174F-4E03-8DCA-B6985D86E5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F94B41-2AC8-480F-9F34-068085B5371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01999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0226D643-FE4C-472B-8E74-D3169148AC60}" type="datetimeFigureOut">
              <a:rPr lang="en-IN" smtClean="0"/>
              <a:t>08-12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BFF94B41-2AC8-480F-9F34-068085B5371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542744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  <p:sldLayoutId id="2147483701" r:id="rId20"/>
    <p:sldLayoutId id="2147483702" r:id="rId21"/>
    <p:sldLayoutId id="2147483703" r:id="rId22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6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20.png"/><Relationship Id="rId7" Type="http://schemas.openxmlformats.org/officeDocument/2006/relationships/image" Target="../media/image43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2.png"/><Relationship Id="rId5" Type="http://schemas.openxmlformats.org/officeDocument/2006/relationships/image" Target="../media/image41.svg"/><Relationship Id="rId4" Type="http://schemas.openxmlformats.org/officeDocument/2006/relationships/image" Target="../media/image40.png"/><Relationship Id="rId9" Type="http://schemas.openxmlformats.org/officeDocument/2006/relationships/image" Target="../media/image45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23.xml"/><Relationship Id="rId7" Type="http://schemas.openxmlformats.org/officeDocument/2006/relationships/image" Target="../media/image46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49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8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svg"/><Relationship Id="rId3" Type="http://schemas.openxmlformats.org/officeDocument/2006/relationships/tags" Target="../tags/tag25.xml"/><Relationship Id="rId7" Type="http://schemas.openxmlformats.org/officeDocument/2006/relationships/image" Target="../media/image47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sv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svg"/><Relationship Id="rId5" Type="http://schemas.openxmlformats.org/officeDocument/2006/relationships/image" Target="../media/image53.png"/><Relationship Id="rId10" Type="http://schemas.openxmlformats.org/officeDocument/2006/relationships/image" Target="../media/image58.svg"/><Relationship Id="rId4" Type="http://schemas.openxmlformats.org/officeDocument/2006/relationships/image" Target="../media/image52.svg"/><Relationship Id="rId9" Type="http://schemas.openxmlformats.org/officeDocument/2006/relationships/image" Target="../media/image5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60.emf"/><Relationship Id="rId4" Type="http://schemas.openxmlformats.org/officeDocument/2006/relationships/oleObject" Target="../embeddings/oleObject1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orbes.com/sites/forbesagencycouncil/2017/10/30/the-value-of-search-results-rankings/?sh=23a1470144d3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.jpe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microsoft.com/office/2007/relationships/hdphoto" Target="../media/hdphoto2.wdp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3.xml"/><Relationship Id="rId7" Type="http://schemas.openxmlformats.org/officeDocument/2006/relationships/image" Target="../media/image1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microsoft.com/office/2007/relationships/hdphoto" Target="../media/hdphoto3.wdp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sv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2C4DB01-FF4E-2443-9632-38EDFFF66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5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2C4DB01-FF4E-2443-9632-38EDFFF6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242203D-4936-004C-8E44-BDACFC5886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510AA1-D904-4578-B940-48098F91670A}"/>
              </a:ext>
            </a:extLst>
          </p:cNvPr>
          <p:cNvSpPr/>
          <p:nvPr/>
        </p:nvSpPr>
        <p:spPr>
          <a:xfrm>
            <a:off x="13428" y="3488541"/>
            <a:ext cx="12192000" cy="3379619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74786" y="1449013"/>
            <a:ext cx="10469283" cy="150044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b="1">
                <a:solidFill>
                  <a:schemeClr val="tx1">
                    <a:lumMod val="85000"/>
                  </a:schemeClr>
                </a:solidFill>
                <a:latin typeface="Arial Nova Cond"/>
                <a:ea typeface="Cambria"/>
                <a:cs typeface="Aparajita"/>
              </a:rPr>
              <a:t>genre filter FOR books section</a:t>
            </a:r>
            <a:endParaRPr lang="en-US" sz="3200" b="1" cap="none" spc="0">
              <a:solidFill>
                <a:schemeClr val="tx1">
                  <a:lumMod val="85000"/>
                </a:schemeClr>
              </a:solidFill>
              <a:latin typeface="Arial Nova Cond"/>
              <a:ea typeface="Cambria"/>
              <a:cs typeface="Aparajita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57783" y="3594336"/>
            <a:ext cx="5095650" cy="425397"/>
          </a:xfrm>
        </p:spPr>
        <p:txBody>
          <a:bodyPr vert="horz" lIns="91440" tIns="45720" rIns="91440" bIns="45720" rtlCol="0">
            <a:normAutofit fontScale="62500" lnSpcReduction="20000"/>
          </a:bodyPr>
          <a:lstStyle/>
          <a:p>
            <a:pPr algn="ctr">
              <a:spcAft>
                <a:spcPts val="600"/>
              </a:spcAft>
            </a:pPr>
            <a:r>
              <a:rPr lang="en-US" sz="4000" b="1">
                <a:solidFill>
                  <a:schemeClr val="bg1">
                    <a:lumMod val="65000"/>
                    <a:lumOff val="35000"/>
                  </a:schemeClr>
                </a:solidFill>
              </a:rPr>
              <a:t>Team </a:t>
            </a:r>
            <a:r>
              <a:rPr lang="en-US" sz="4000" b="1" err="1">
                <a:solidFill>
                  <a:schemeClr val="bg1">
                    <a:lumMod val="65000"/>
                    <a:lumOff val="35000"/>
                  </a:schemeClr>
                </a:solidFill>
              </a:rPr>
              <a:t>ExtrAUDinary</a:t>
            </a:r>
            <a:endParaRPr lang="en-US" b="1">
              <a:solidFill>
                <a:schemeClr val="bg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511D37-5590-4534-90A4-BC404AA9B518}"/>
              </a:ext>
            </a:extLst>
          </p:cNvPr>
          <p:cNvSpPr/>
          <p:nvPr/>
        </p:nvSpPr>
        <p:spPr>
          <a:xfrm>
            <a:off x="13428" y="3394859"/>
            <a:ext cx="12155431" cy="9368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D687D1-CD31-4632-8ACB-BEB84D7E2B6A}"/>
              </a:ext>
            </a:extLst>
          </p:cNvPr>
          <p:cNvSpPr txBox="1"/>
          <p:nvPr/>
        </p:nvSpPr>
        <p:spPr>
          <a:xfrm>
            <a:off x="3217946" y="5969573"/>
            <a:ext cx="1928094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neet Suhas Soni</a:t>
            </a:r>
            <a:endParaRPr lang="en-US" sz="18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3DA558F-503F-4F04-B224-928FE6F6562D}"/>
              </a:ext>
            </a:extLst>
          </p:cNvPr>
          <p:cNvSpPr txBox="1"/>
          <p:nvPr/>
        </p:nvSpPr>
        <p:spPr>
          <a:xfrm>
            <a:off x="1396621" y="5965472"/>
            <a:ext cx="165046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reyansh Jain</a:t>
            </a:r>
            <a:endParaRPr lang="en-US" sz="18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6AB7B1B-5AC0-4AC9-B6FA-44F7431EF2E3}"/>
              </a:ext>
            </a:extLst>
          </p:cNvPr>
          <p:cNvSpPr txBox="1"/>
          <p:nvPr/>
        </p:nvSpPr>
        <p:spPr>
          <a:xfrm>
            <a:off x="5477139" y="5969573"/>
            <a:ext cx="122800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njana S</a:t>
            </a:r>
            <a:endParaRPr lang="en-US" sz="18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35E3A70-DA4F-45EF-B86C-4AC284DC848E}"/>
              </a:ext>
            </a:extLst>
          </p:cNvPr>
          <p:cNvSpPr txBox="1"/>
          <p:nvPr/>
        </p:nvSpPr>
        <p:spPr>
          <a:xfrm>
            <a:off x="7402495" y="5969573"/>
            <a:ext cx="1150935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ithya U</a:t>
            </a:r>
            <a:endParaRPr lang="en-US" sz="18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AFC13F6-02F3-48A5-B4EE-2346F5956045}"/>
              </a:ext>
            </a:extLst>
          </p:cNvPr>
          <p:cNvSpPr txBox="1"/>
          <p:nvPr/>
        </p:nvSpPr>
        <p:spPr>
          <a:xfrm>
            <a:off x="8997386" y="5969572"/>
            <a:ext cx="1632147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shal 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okeen</a:t>
            </a:r>
            <a:endParaRPr lang="en-US" sz="18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pic>
        <p:nvPicPr>
          <p:cNvPr id="33796" name="Picture 4" descr="https://i2.wp.com/noblepawnbroker.com/wp-content/uploads/2019/02/craigslist-logo-transparent.png?fit=300%2C225&amp;ssl=1">
            <a:extLst>
              <a:ext uri="{FF2B5EF4-FFF2-40B4-BE49-F238E27FC236}">
                <a16:creationId xmlns:a16="http://schemas.microsoft.com/office/drawing/2014/main" id="{B36194E2-7A28-4903-8858-C9572B80FF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1154" y="65463"/>
            <a:ext cx="2639978" cy="1979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1">
            <a:extLst>
              <a:ext uri="{FF2B5EF4-FFF2-40B4-BE49-F238E27FC236}">
                <a16:creationId xmlns:a16="http://schemas.microsoft.com/office/drawing/2014/main" id="{5B3C04B6-F613-49BD-A570-54B37FA3988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37733" y="4127433"/>
            <a:ext cx="9338733" cy="1828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3848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468" y="265238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468" y="265238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152400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/>
            <a:endParaRPr lang="en-US" sz="20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3122D5A-53A0-4775-A0AE-C860A160B52D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7D3DCDD-332B-4A05-ABAD-32185BCEE011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112B991-1C2A-46A2-A311-2D5E7E4E88FC}"/>
              </a:ext>
            </a:extLst>
          </p:cNvPr>
          <p:cNvGrpSpPr/>
          <p:nvPr/>
        </p:nvGrpSpPr>
        <p:grpSpPr>
          <a:xfrm>
            <a:off x="622563" y="2354049"/>
            <a:ext cx="10946874" cy="2910909"/>
            <a:chOff x="728039" y="2115510"/>
            <a:chExt cx="10946874" cy="2910909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B92F62F-0F57-45A4-95E2-237FF35E2404}"/>
                </a:ext>
              </a:extLst>
            </p:cNvPr>
            <p:cNvGrpSpPr/>
            <p:nvPr/>
          </p:nvGrpSpPr>
          <p:grpSpPr>
            <a:xfrm>
              <a:off x="728039" y="2115510"/>
              <a:ext cx="2131361" cy="2910909"/>
              <a:chOff x="2914648" y="2051036"/>
              <a:chExt cx="2131361" cy="2910909"/>
            </a:xfrm>
          </p:grpSpPr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B8FEA491-A855-412C-BFF2-ED60C87C7804}"/>
                  </a:ext>
                </a:extLst>
              </p:cNvPr>
              <p:cNvSpPr txBox="1"/>
              <p:nvPr/>
            </p:nvSpPr>
            <p:spPr>
              <a:xfrm>
                <a:off x="2914648" y="4377170"/>
                <a:ext cx="2131361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Calibri" panose="020F0502020204030204" pitchFamily="34" charset="0"/>
                  </a:rPr>
                  <a:t>Problem Statement</a:t>
                </a:r>
              </a:p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Calibri" panose="020F0502020204030204" pitchFamily="34" charset="0"/>
                  </a:rPr>
                  <a:t> and Objectives</a:t>
                </a: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64CB14E9-22BB-4CBA-8403-7A33EDF137B6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64" name="Flowchart: Connector 63">
                  <a:extLst>
                    <a:ext uri="{FF2B5EF4-FFF2-40B4-BE49-F238E27FC236}">
                      <a16:creationId xmlns:a16="http://schemas.microsoft.com/office/drawing/2014/main" id="{222BEE9C-FEC6-4353-93CE-7BA842BCDC34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45556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DB0BAFA4-F586-4142-AA24-4B5FCE71E523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68" name="Arc 67">
                    <a:extLst>
                      <a:ext uri="{FF2B5EF4-FFF2-40B4-BE49-F238E27FC236}">
                        <a16:creationId xmlns:a16="http://schemas.microsoft.com/office/drawing/2014/main" id="{C605FA13-8DBB-4A02-ADD3-379345D55740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69" name="Straight Arrow Connector 68">
                    <a:extLst>
                      <a:ext uri="{FF2B5EF4-FFF2-40B4-BE49-F238E27FC236}">
                        <a16:creationId xmlns:a16="http://schemas.microsoft.com/office/drawing/2014/main" id="{2884B008-5164-454F-8FB7-533CDE0A086C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66" name="Straight Connector 65">
                  <a:extLst>
                    <a:ext uri="{FF2B5EF4-FFF2-40B4-BE49-F238E27FC236}">
                      <a16:creationId xmlns:a16="http://schemas.microsoft.com/office/drawing/2014/main" id="{CDFD1B24-7057-40D2-8C10-46494EBBEEF8}"/>
                    </a:ext>
                  </a:extLst>
                </p:cNvPr>
                <p:cNvCxnSpPr>
                  <a:cxnSpLocks/>
                  <a:stCxn id="68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7" name="TextBox 66">
                  <a:extLst>
                    <a:ext uri="{FF2B5EF4-FFF2-40B4-BE49-F238E27FC236}">
                      <a16:creationId xmlns:a16="http://schemas.microsoft.com/office/drawing/2014/main" id="{DDA6E48A-B1AF-4D15-BE74-741304DFE0EB}"/>
                    </a:ext>
                  </a:extLst>
                </p:cNvPr>
                <p:cNvSpPr txBox="1"/>
                <p:nvPr/>
              </p:nvSpPr>
              <p:spPr>
                <a:xfrm>
                  <a:off x="3511245" y="2373059"/>
                  <a:ext cx="777922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1</a:t>
                  </a:r>
                </a:p>
              </p:txBody>
            </p:sp>
          </p:grp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97014505-2C16-4922-9F8F-4F9626A3EF31}"/>
                </a:ext>
              </a:extLst>
            </p:cNvPr>
            <p:cNvGrpSpPr/>
            <p:nvPr/>
          </p:nvGrpSpPr>
          <p:grpSpPr>
            <a:xfrm>
              <a:off x="2931917" y="2115510"/>
              <a:ext cx="2131361" cy="2654528"/>
              <a:chOff x="2914648" y="2051036"/>
              <a:chExt cx="2131361" cy="2654528"/>
            </a:xfrm>
          </p:grpSpPr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9CA72168-84CE-4813-9377-CD3B754DC2FF}"/>
                  </a:ext>
                </a:extLst>
              </p:cNvPr>
              <p:cNvSpPr txBox="1"/>
              <p:nvPr/>
            </p:nvSpPr>
            <p:spPr>
              <a:xfrm>
                <a:off x="2914648" y="4367010"/>
                <a:ext cx="213136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/>
                  </a:rPr>
                  <a:t>Solution</a:t>
                </a:r>
              </a:p>
            </p:txBody>
          </p: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8B44BA6B-E1C2-4E79-9A18-EE802CDE426B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56" name="Flowchart: Connector 55">
                  <a:extLst>
                    <a:ext uri="{FF2B5EF4-FFF2-40B4-BE49-F238E27FC236}">
                      <a16:creationId xmlns:a16="http://schemas.microsoft.com/office/drawing/2014/main" id="{40C28735-08A8-4F6F-9875-373AE4BF9A58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45556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55DC320F-EDA8-4BE7-9DA0-54EB556B4807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60" name="Arc 59">
                    <a:extLst>
                      <a:ext uri="{FF2B5EF4-FFF2-40B4-BE49-F238E27FC236}">
                        <a16:creationId xmlns:a16="http://schemas.microsoft.com/office/drawing/2014/main" id="{C73CE287-55EF-4D72-A5F2-0CDE2628B540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61" name="Straight Arrow Connector 60">
                    <a:extLst>
                      <a:ext uri="{FF2B5EF4-FFF2-40B4-BE49-F238E27FC236}">
                        <a16:creationId xmlns:a16="http://schemas.microsoft.com/office/drawing/2014/main" id="{D04795E9-C071-4033-BF03-C8EB7434992C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8" name="Straight Connector 57">
                  <a:extLst>
                    <a:ext uri="{FF2B5EF4-FFF2-40B4-BE49-F238E27FC236}">
                      <a16:creationId xmlns:a16="http://schemas.microsoft.com/office/drawing/2014/main" id="{009A3F5B-E975-47B7-96DB-128740609551}"/>
                    </a:ext>
                  </a:extLst>
                </p:cNvPr>
                <p:cNvCxnSpPr>
                  <a:cxnSpLocks/>
                  <a:stCxn id="60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9" name="TextBox 58">
                  <a:extLst>
                    <a:ext uri="{FF2B5EF4-FFF2-40B4-BE49-F238E27FC236}">
                      <a16:creationId xmlns:a16="http://schemas.microsoft.com/office/drawing/2014/main" id="{0925E6A6-6D31-427B-B67A-D6E86B9B2A58}"/>
                    </a:ext>
                  </a:extLst>
                </p:cNvPr>
                <p:cNvSpPr txBox="1"/>
                <p:nvPr/>
              </p:nvSpPr>
              <p:spPr>
                <a:xfrm>
                  <a:off x="3507356" y="2373059"/>
                  <a:ext cx="785701" cy="132343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2</a:t>
                  </a:r>
                </a:p>
              </p:txBody>
            </p:sp>
          </p:grp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31EE24DB-B742-47EC-BF17-139CC3DD4D3E}"/>
                </a:ext>
              </a:extLst>
            </p:cNvPr>
            <p:cNvGrpSpPr/>
            <p:nvPr/>
          </p:nvGrpSpPr>
          <p:grpSpPr>
            <a:xfrm>
              <a:off x="5135795" y="2115510"/>
              <a:ext cx="2131361" cy="2654528"/>
              <a:chOff x="2914648" y="2051036"/>
              <a:chExt cx="2131361" cy="2654528"/>
            </a:xfrm>
          </p:grpSpPr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69BC433F-FB5C-4163-9FC7-E50959957535}"/>
                  </a:ext>
                </a:extLst>
              </p:cNvPr>
              <p:cNvSpPr txBox="1"/>
              <p:nvPr/>
            </p:nvSpPr>
            <p:spPr>
              <a:xfrm>
                <a:off x="2914648" y="4367010"/>
                <a:ext cx="213136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/>
                  </a:rPr>
                  <a:t>Challenges</a:t>
                </a:r>
                <a:endParaRPr lang="en-US" sz="1800" b="1">
                  <a:solidFill>
                    <a:srgbClr val="6B6B6B"/>
                  </a:solidFill>
                  <a:latin typeface="Roboto Condensed"/>
                </a:endParaRPr>
              </a:p>
            </p:txBody>
          </p: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BA7C04F7-2345-4FC5-A927-8A0701B6D8DD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48" name="Flowchart: Connector 47">
                  <a:extLst>
                    <a:ext uri="{FF2B5EF4-FFF2-40B4-BE49-F238E27FC236}">
                      <a16:creationId xmlns:a16="http://schemas.microsoft.com/office/drawing/2014/main" id="{D4FF8C64-F2B9-4A75-8D07-82D01BAE4A55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ED7D3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9" name="Group 48">
                  <a:extLst>
                    <a:ext uri="{FF2B5EF4-FFF2-40B4-BE49-F238E27FC236}">
                      <a16:creationId xmlns:a16="http://schemas.microsoft.com/office/drawing/2014/main" id="{88D55C04-62A6-422E-A310-E5302AA3EE11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52" name="Arc 51">
                    <a:extLst>
                      <a:ext uri="{FF2B5EF4-FFF2-40B4-BE49-F238E27FC236}">
                        <a16:creationId xmlns:a16="http://schemas.microsoft.com/office/drawing/2014/main" id="{FD2E6811-3916-48F9-887F-65A51E831BFF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53" name="Straight Arrow Connector 52">
                    <a:extLst>
                      <a:ext uri="{FF2B5EF4-FFF2-40B4-BE49-F238E27FC236}">
                        <a16:creationId xmlns:a16="http://schemas.microsoft.com/office/drawing/2014/main" id="{75D21054-8ECE-469E-8B06-E60FA078B0D1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0" name="Straight Connector 49">
                  <a:extLst>
                    <a:ext uri="{FF2B5EF4-FFF2-40B4-BE49-F238E27FC236}">
                      <a16:creationId xmlns:a16="http://schemas.microsoft.com/office/drawing/2014/main" id="{155360F9-9D6A-41AE-A0BB-14FC19835E07}"/>
                    </a:ext>
                  </a:extLst>
                </p:cNvPr>
                <p:cNvCxnSpPr>
                  <a:cxnSpLocks/>
                  <a:stCxn id="52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3A43AF1F-49BD-42C7-A160-3804FE56960F}"/>
                    </a:ext>
                  </a:extLst>
                </p:cNvPr>
                <p:cNvSpPr txBox="1"/>
                <p:nvPr/>
              </p:nvSpPr>
              <p:spPr>
                <a:xfrm>
                  <a:off x="3511245" y="2373059"/>
                  <a:ext cx="777922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3</a:t>
                  </a:r>
                </a:p>
              </p:txBody>
            </p:sp>
          </p:grp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6020D234-67C2-4ACB-A10D-7CCA7DD3C773}"/>
                </a:ext>
              </a:extLst>
            </p:cNvPr>
            <p:cNvGrpSpPr/>
            <p:nvPr/>
          </p:nvGrpSpPr>
          <p:grpSpPr>
            <a:xfrm>
              <a:off x="7339673" y="2115510"/>
              <a:ext cx="2131361" cy="2654528"/>
              <a:chOff x="2914648" y="2051036"/>
              <a:chExt cx="2131361" cy="2654528"/>
            </a:xfrm>
          </p:grpSpPr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983E13F1-9FE4-4B81-A90B-F211F6DB5CE5}"/>
                  </a:ext>
                </a:extLst>
              </p:cNvPr>
              <p:cNvSpPr txBox="1"/>
              <p:nvPr/>
            </p:nvSpPr>
            <p:spPr>
              <a:xfrm>
                <a:off x="2914648" y="4367010"/>
                <a:ext cx="213136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>
                    <a:solidFill>
                      <a:srgbClr val="6B6B6B"/>
                    </a:solidFill>
                    <a:latin typeface="Roboto Condensed"/>
                  </a:rPr>
                  <a:t>Way forward</a:t>
                </a:r>
                <a:endParaRPr lang="en-US" sz="1800" b="1">
                  <a:solidFill>
                    <a:srgbClr val="6B6B6B"/>
                  </a:solidFill>
                  <a:latin typeface="Roboto Condensed"/>
                </a:endParaRPr>
              </a:p>
            </p:txBody>
          </p: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93DAB995-67E7-4966-B7B2-2759A1FC5B2C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40" name="Flowchart: Connector 39">
                  <a:extLst>
                    <a:ext uri="{FF2B5EF4-FFF2-40B4-BE49-F238E27FC236}">
                      <a16:creationId xmlns:a16="http://schemas.microsoft.com/office/drawing/2014/main" id="{4E70B1D2-1E63-4A66-9CFB-89BAA56515BB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45556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1" name="Group 40">
                  <a:extLst>
                    <a:ext uri="{FF2B5EF4-FFF2-40B4-BE49-F238E27FC236}">
                      <a16:creationId xmlns:a16="http://schemas.microsoft.com/office/drawing/2014/main" id="{C111C3E9-E9D0-4AF4-BF1E-91D3E2D2F807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44" name="Arc 43">
                    <a:extLst>
                      <a:ext uri="{FF2B5EF4-FFF2-40B4-BE49-F238E27FC236}">
                        <a16:creationId xmlns:a16="http://schemas.microsoft.com/office/drawing/2014/main" id="{30B1B492-3914-400B-A9E3-26948D2A0819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45" name="Straight Arrow Connector 44">
                    <a:extLst>
                      <a:ext uri="{FF2B5EF4-FFF2-40B4-BE49-F238E27FC236}">
                        <a16:creationId xmlns:a16="http://schemas.microsoft.com/office/drawing/2014/main" id="{E2B2D2FD-D772-4FEC-8C6C-948D4E31A5F5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9456486C-3105-447C-A323-13E872B13F17}"/>
                    </a:ext>
                  </a:extLst>
                </p:cNvPr>
                <p:cNvCxnSpPr>
                  <a:cxnSpLocks/>
                  <a:stCxn id="44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3" name="TextBox 42">
                  <a:extLst>
                    <a:ext uri="{FF2B5EF4-FFF2-40B4-BE49-F238E27FC236}">
                      <a16:creationId xmlns:a16="http://schemas.microsoft.com/office/drawing/2014/main" id="{BC0B7684-2F6A-4722-909D-852471D976FE}"/>
                    </a:ext>
                  </a:extLst>
                </p:cNvPr>
                <p:cNvSpPr txBox="1"/>
                <p:nvPr/>
              </p:nvSpPr>
              <p:spPr>
                <a:xfrm>
                  <a:off x="3507356" y="2373059"/>
                  <a:ext cx="785701" cy="132343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4</a:t>
                  </a:r>
                </a:p>
              </p:txBody>
            </p:sp>
          </p:grp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AF25D0-57AC-4ABC-AA87-705D9C8E5C49}"/>
                </a:ext>
              </a:extLst>
            </p:cNvPr>
            <p:cNvGrpSpPr/>
            <p:nvPr/>
          </p:nvGrpSpPr>
          <p:grpSpPr>
            <a:xfrm>
              <a:off x="9543552" y="2115510"/>
              <a:ext cx="2131361" cy="2654528"/>
              <a:chOff x="2914648" y="2051036"/>
              <a:chExt cx="2131361" cy="2654528"/>
            </a:xfrm>
          </p:grpSpPr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490D244C-C74F-48CA-8CD8-300153C369C9}"/>
                  </a:ext>
                </a:extLst>
              </p:cNvPr>
              <p:cNvSpPr txBox="1"/>
              <p:nvPr/>
            </p:nvSpPr>
            <p:spPr>
              <a:xfrm>
                <a:off x="2914648" y="4367010"/>
                <a:ext cx="213136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/>
                  </a:rPr>
                  <a:t>Recommendation</a:t>
                </a:r>
              </a:p>
            </p:txBody>
          </p: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6E26DB95-4DD2-4F41-B8A9-385F33616254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32" name="Flowchart: Connector 31">
                  <a:extLst>
                    <a:ext uri="{FF2B5EF4-FFF2-40B4-BE49-F238E27FC236}">
                      <a16:creationId xmlns:a16="http://schemas.microsoft.com/office/drawing/2014/main" id="{4C2F6C00-A0C5-49BF-8488-57B15D35F656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45556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33" name="Group 32">
                  <a:extLst>
                    <a:ext uri="{FF2B5EF4-FFF2-40B4-BE49-F238E27FC236}">
                      <a16:creationId xmlns:a16="http://schemas.microsoft.com/office/drawing/2014/main" id="{79D183E5-E92F-40F3-A0A2-9D388949B902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36" name="Arc 35">
                    <a:extLst>
                      <a:ext uri="{FF2B5EF4-FFF2-40B4-BE49-F238E27FC236}">
                        <a16:creationId xmlns:a16="http://schemas.microsoft.com/office/drawing/2014/main" id="{86B53493-4D5D-4A43-93D9-13E9D8841276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37" name="Straight Arrow Connector 36">
                    <a:extLst>
                      <a:ext uri="{FF2B5EF4-FFF2-40B4-BE49-F238E27FC236}">
                        <a16:creationId xmlns:a16="http://schemas.microsoft.com/office/drawing/2014/main" id="{A8EE492F-F236-4653-AAB5-221B2EE8CFA2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AAB0622E-74FE-4CE6-AD10-50101DFE71D7}"/>
                    </a:ext>
                  </a:extLst>
                </p:cNvPr>
                <p:cNvCxnSpPr>
                  <a:cxnSpLocks/>
                  <a:stCxn id="36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2A9CAB57-C196-4C1E-90B3-6F6994972F4B}"/>
                    </a:ext>
                  </a:extLst>
                </p:cNvPr>
                <p:cNvSpPr txBox="1"/>
                <p:nvPr/>
              </p:nvSpPr>
              <p:spPr>
                <a:xfrm>
                  <a:off x="3511245" y="2373059"/>
                  <a:ext cx="777922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5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8285448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C61F604-EE8E-4E6D-84E4-58E5B56C7B54}"/>
              </a:ext>
            </a:extLst>
          </p:cNvPr>
          <p:cNvSpPr/>
          <p:nvPr/>
        </p:nvSpPr>
        <p:spPr>
          <a:xfrm>
            <a:off x="0" y="293170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3E4F1DC-CA77-4B2E-A2AC-80A845851DA4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C371CC-3336-41A3-BB34-6E2A0C172BE3}"/>
              </a:ext>
            </a:extLst>
          </p:cNvPr>
          <p:cNvSpPr/>
          <p:nvPr/>
        </p:nvSpPr>
        <p:spPr>
          <a:xfrm>
            <a:off x="1757681" y="23221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</a:t>
            </a:r>
            <a:r>
              <a:rPr lang="en-US" sz="2800" b="1">
                <a:solidFill>
                  <a:schemeClr val="bg2">
                    <a:lumMod val="25000"/>
                  </a:schemeClr>
                </a:solidFill>
                <a:latin typeface="Calibri" panose="020F0502020204030204"/>
              </a:rPr>
              <a:t>Confusion matrix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FECA68-23D4-4B42-9848-3115D44CB3C9}"/>
              </a:ext>
            </a:extLst>
          </p:cNvPr>
          <p:cNvSpPr txBox="1"/>
          <p:nvPr/>
        </p:nvSpPr>
        <p:spPr>
          <a:xfrm>
            <a:off x="7843520" y="2484250"/>
            <a:ext cx="3769359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i="1"/>
              <a:t>Majority of misclassification were in </a:t>
            </a:r>
            <a:r>
              <a:rPr lang="en-IN" sz="2400" b="1" i="1">
                <a:solidFill>
                  <a:srgbClr val="ED7D31"/>
                </a:solidFill>
              </a:rPr>
              <a:t>Fiction and History books</a:t>
            </a:r>
            <a:r>
              <a:rPr lang="en-IN" i="1"/>
              <a:t> section</a:t>
            </a:r>
          </a:p>
          <a:p>
            <a:endParaRPr lang="en-IN" i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0ACB22A-C4B7-4AE7-A236-7778665EB1A6}"/>
              </a:ext>
            </a:extLst>
          </p:cNvPr>
          <p:cNvSpPr txBox="1"/>
          <p:nvPr/>
        </p:nvSpPr>
        <p:spPr>
          <a:xfrm>
            <a:off x="3718560" y="6473390"/>
            <a:ext cx="9448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/>
              <a:t>Predictio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9CBA5CE-1959-4B22-A214-978D4DA4E90B}"/>
              </a:ext>
            </a:extLst>
          </p:cNvPr>
          <p:cNvSpPr txBox="1"/>
          <p:nvPr/>
        </p:nvSpPr>
        <p:spPr>
          <a:xfrm rot="16200000">
            <a:off x="391449" y="2818191"/>
            <a:ext cx="9448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/>
              <a:t>Actual</a:t>
            </a:r>
          </a:p>
        </p:txBody>
      </p:sp>
      <p:pic>
        <p:nvPicPr>
          <p:cNvPr id="9" name="Picture 9" descr="A picture containing text, blackboard, posing&#10;&#10;Description automatically generated">
            <a:extLst>
              <a:ext uri="{FF2B5EF4-FFF2-40B4-BE49-F238E27FC236}">
                <a16:creationId xmlns:a16="http://schemas.microsoft.com/office/drawing/2014/main" id="{40951BDF-C3B8-4FF0-861F-89852BBD58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68157" y="3838310"/>
            <a:ext cx="3854882" cy="1721555"/>
          </a:xfrm>
          <a:prstGeom prst="rect">
            <a:avLst/>
          </a:prstGeom>
        </p:spPr>
      </p:pic>
      <p:pic>
        <p:nvPicPr>
          <p:cNvPr id="4" name="Picture 9">
            <a:extLst>
              <a:ext uri="{FF2B5EF4-FFF2-40B4-BE49-F238E27FC236}">
                <a16:creationId xmlns:a16="http://schemas.microsoft.com/office/drawing/2014/main" id="{A30F0F52-C137-48AE-A8F5-AB183966C9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6959" y="1575086"/>
            <a:ext cx="5892052" cy="490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7320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AAFC420C-3A5D-4789-A697-DC3BBD29CEE3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98781B0-9064-46C2-8497-AAAE84DCA1CC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B495259-37AB-4B6D-BD31-B118894F75D0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800" b="1">
                <a:solidFill>
                  <a:schemeClr val="bg2">
                    <a:lumMod val="25000"/>
                  </a:schemeClr>
                </a:solidFill>
              </a:rPr>
              <a:t>Challenges and Solutions</a:t>
            </a:r>
            <a:endParaRPr lang="en-US" sz="2800" b="1">
              <a:solidFill>
                <a:schemeClr val="bg2">
                  <a:lumMod val="25000"/>
                </a:schemeClr>
              </a:solidFill>
              <a:cs typeface="Calibri"/>
            </a:endParaRP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001E54B4-E0B0-5B45-8107-356352F28AAE}"/>
              </a:ext>
            </a:extLst>
          </p:cNvPr>
          <p:cNvSpPr>
            <a:spLocks noEditPoints="1"/>
          </p:cNvSpPr>
          <p:nvPr/>
        </p:nvSpPr>
        <p:spPr bwMode="auto">
          <a:xfrm>
            <a:off x="3344122" y="2397859"/>
            <a:ext cx="1948397" cy="1877866"/>
          </a:xfrm>
          <a:custGeom>
            <a:avLst/>
            <a:gdLst/>
            <a:ahLst/>
            <a:cxnLst>
              <a:cxn ang="0">
                <a:pos x="85" y="294"/>
              </a:cxn>
              <a:cxn ang="0">
                <a:pos x="0" y="330"/>
              </a:cxn>
              <a:cxn ang="0">
                <a:pos x="314" y="0"/>
              </a:cxn>
              <a:cxn ang="0">
                <a:pos x="167" y="327"/>
              </a:cxn>
              <a:cxn ang="0">
                <a:pos x="85" y="294"/>
              </a:cxn>
              <a:cxn ang="0">
                <a:pos x="85" y="294"/>
              </a:cxn>
              <a:cxn ang="0">
                <a:pos x="85" y="294"/>
              </a:cxn>
            </a:cxnLst>
            <a:rect l="0" t="0" r="r" b="b"/>
            <a:pathLst>
              <a:path w="314" h="330">
                <a:moveTo>
                  <a:pt x="85" y="294"/>
                </a:moveTo>
                <a:cubicBezTo>
                  <a:pt x="52" y="294"/>
                  <a:pt x="21" y="307"/>
                  <a:pt x="0" y="330"/>
                </a:cubicBezTo>
                <a:cubicBezTo>
                  <a:pt x="19" y="162"/>
                  <a:pt x="149" y="27"/>
                  <a:pt x="314" y="0"/>
                </a:cubicBezTo>
                <a:cubicBezTo>
                  <a:pt x="176" y="99"/>
                  <a:pt x="167" y="274"/>
                  <a:pt x="167" y="327"/>
                </a:cubicBezTo>
                <a:cubicBezTo>
                  <a:pt x="146" y="306"/>
                  <a:pt x="116" y="294"/>
                  <a:pt x="85" y="294"/>
                </a:cubicBezTo>
                <a:close/>
                <a:moveTo>
                  <a:pt x="85" y="294"/>
                </a:moveTo>
                <a:cubicBezTo>
                  <a:pt x="85" y="294"/>
                  <a:pt x="85" y="294"/>
                  <a:pt x="85" y="294"/>
                </a:cubicBezTo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ED9FAD77-D236-D343-9022-2BADD30476EB}"/>
              </a:ext>
            </a:extLst>
          </p:cNvPr>
          <p:cNvSpPr>
            <a:spLocks noEditPoints="1"/>
          </p:cNvSpPr>
          <p:nvPr/>
        </p:nvSpPr>
        <p:spPr bwMode="auto">
          <a:xfrm>
            <a:off x="4540920" y="2405055"/>
            <a:ext cx="1050145" cy="1870672"/>
          </a:xfrm>
          <a:custGeom>
            <a:avLst/>
            <a:gdLst/>
            <a:ahLst/>
            <a:cxnLst>
              <a:cxn ang="0">
                <a:pos x="84" y="293"/>
              </a:cxn>
              <a:cxn ang="0">
                <a:pos x="1" y="327"/>
              </a:cxn>
              <a:cxn ang="0">
                <a:pos x="169" y="0"/>
              </a:cxn>
              <a:cxn ang="0">
                <a:pos x="169" y="329"/>
              </a:cxn>
              <a:cxn ang="0">
                <a:pos x="84" y="293"/>
              </a:cxn>
              <a:cxn ang="0">
                <a:pos x="84" y="293"/>
              </a:cxn>
              <a:cxn ang="0">
                <a:pos x="84" y="293"/>
              </a:cxn>
            </a:cxnLst>
            <a:rect l="0" t="0" r="r" b="b"/>
            <a:pathLst>
              <a:path w="169" h="329">
                <a:moveTo>
                  <a:pt x="84" y="293"/>
                </a:moveTo>
                <a:cubicBezTo>
                  <a:pt x="52" y="293"/>
                  <a:pt x="22" y="306"/>
                  <a:pt x="1" y="327"/>
                </a:cubicBezTo>
                <a:cubicBezTo>
                  <a:pt x="0" y="276"/>
                  <a:pt x="8" y="87"/>
                  <a:pt x="169" y="0"/>
                </a:cubicBezTo>
                <a:cubicBezTo>
                  <a:pt x="169" y="329"/>
                  <a:pt x="169" y="329"/>
                  <a:pt x="169" y="329"/>
                </a:cubicBezTo>
                <a:cubicBezTo>
                  <a:pt x="147" y="306"/>
                  <a:pt x="117" y="293"/>
                  <a:pt x="84" y="293"/>
                </a:cubicBezTo>
                <a:close/>
                <a:moveTo>
                  <a:pt x="84" y="293"/>
                </a:moveTo>
                <a:cubicBezTo>
                  <a:pt x="84" y="293"/>
                  <a:pt x="84" y="293"/>
                  <a:pt x="84" y="293"/>
                </a:cubicBezTo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569D2A7A-27BA-DB49-A60A-46E7B00204EB}"/>
              </a:ext>
            </a:extLst>
          </p:cNvPr>
          <p:cNvSpPr>
            <a:spLocks noEditPoints="1"/>
          </p:cNvSpPr>
          <p:nvPr/>
        </p:nvSpPr>
        <p:spPr bwMode="auto">
          <a:xfrm>
            <a:off x="5753430" y="2405055"/>
            <a:ext cx="1047525" cy="1870672"/>
          </a:xfrm>
          <a:custGeom>
            <a:avLst/>
            <a:gdLst/>
            <a:ahLst/>
            <a:cxnLst>
              <a:cxn ang="0">
                <a:pos x="85" y="293"/>
              </a:cxn>
              <a:cxn ang="0">
                <a:pos x="0" y="329"/>
              </a:cxn>
              <a:cxn ang="0">
                <a:pos x="0" y="0"/>
              </a:cxn>
              <a:cxn ang="0">
                <a:pos x="168" y="327"/>
              </a:cxn>
              <a:cxn ang="0">
                <a:pos x="85" y="293"/>
              </a:cxn>
              <a:cxn ang="0">
                <a:pos x="85" y="293"/>
              </a:cxn>
              <a:cxn ang="0">
                <a:pos x="85" y="293"/>
              </a:cxn>
            </a:cxnLst>
            <a:rect l="0" t="0" r="r" b="b"/>
            <a:pathLst>
              <a:path w="169" h="329">
                <a:moveTo>
                  <a:pt x="85" y="293"/>
                </a:moveTo>
                <a:cubicBezTo>
                  <a:pt x="52" y="293"/>
                  <a:pt x="22" y="306"/>
                  <a:pt x="0" y="329"/>
                </a:cubicBezTo>
                <a:cubicBezTo>
                  <a:pt x="0" y="0"/>
                  <a:pt x="0" y="0"/>
                  <a:pt x="0" y="0"/>
                </a:cubicBezTo>
                <a:cubicBezTo>
                  <a:pt x="161" y="87"/>
                  <a:pt x="169" y="276"/>
                  <a:pt x="168" y="327"/>
                </a:cubicBezTo>
                <a:cubicBezTo>
                  <a:pt x="146" y="306"/>
                  <a:pt x="116" y="293"/>
                  <a:pt x="85" y="293"/>
                </a:cubicBezTo>
                <a:close/>
                <a:moveTo>
                  <a:pt x="85" y="293"/>
                </a:moveTo>
                <a:cubicBezTo>
                  <a:pt x="85" y="293"/>
                  <a:pt x="85" y="293"/>
                  <a:pt x="85" y="293"/>
                </a:cubicBezTo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DB54419A-9818-F748-A8FC-29EA76ACF196}"/>
              </a:ext>
            </a:extLst>
          </p:cNvPr>
          <p:cNvSpPr>
            <a:spLocks noEditPoints="1"/>
          </p:cNvSpPr>
          <p:nvPr/>
        </p:nvSpPr>
        <p:spPr bwMode="auto">
          <a:xfrm>
            <a:off x="6044119" y="2397859"/>
            <a:ext cx="1961491" cy="1889858"/>
          </a:xfrm>
          <a:custGeom>
            <a:avLst/>
            <a:gdLst/>
            <a:ahLst/>
            <a:cxnLst>
              <a:cxn ang="0">
                <a:pos x="229" y="294"/>
              </a:cxn>
              <a:cxn ang="0">
                <a:pos x="147" y="327"/>
              </a:cxn>
              <a:cxn ang="0">
                <a:pos x="0" y="0"/>
              </a:cxn>
              <a:cxn ang="0">
                <a:pos x="316" y="332"/>
              </a:cxn>
              <a:cxn ang="0">
                <a:pos x="229" y="294"/>
              </a:cxn>
              <a:cxn ang="0">
                <a:pos x="229" y="294"/>
              </a:cxn>
              <a:cxn ang="0">
                <a:pos x="229" y="294"/>
              </a:cxn>
            </a:cxnLst>
            <a:rect l="0" t="0" r="r" b="b"/>
            <a:pathLst>
              <a:path w="316" h="332">
                <a:moveTo>
                  <a:pt x="229" y="294"/>
                </a:moveTo>
                <a:cubicBezTo>
                  <a:pt x="198" y="294"/>
                  <a:pt x="169" y="306"/>
                  <a:pt x="147" y="327"/>
                </a:cubicBezTo>
                <a:cubicBezTo>
                  <a:pt x="148" y="274"/>
                  <a:pt x="138" y="99"/>
                  <a:pt x="0" y="0"/>
                </a:cubicBezTo>
                <a:cubicBezTo>
                  <a:pt x="167" y="26"/>
                  <a:pt x="298" y="162"/>
                  <a:pt x="316" y="332"/>
                </a:cubicBezTo>
                <a:cubicBezTo>
                  <a:pt x="295" y="308"/>
                  <a:pt x="263" y="294"/>
                  <a:pt x="229" y="294"/>
                </a:cubicBezTo>
                <a:close/>
                <a:moveTo>
                  <a:pt x="229" y="294"/>
                </a:moveTo>
                <a:cubicBezTo>
                  <a:pt x="229" y="294"/>
                  <a:pt x="229" y="294"/>
                  <a:pt x="229" y="294"/>
                </a:cubicBezTo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3FB5D958-EC1A-2D49-A91B-E9823496E35F}"/>
              </a:ext>
            </a:extLst>
          </p:cNvPr>
          <p:cNvSpPr>
            <a:spLocks noEditPoints="1"/>
          </p:cNvSpPr>
          <p:nvPr/>
        </p:nvSpPr>
        <p:spPr bwMode="auto">
          <a:xfrm>
            <a:off x="5581300" y="4426487"/>
            <a:ext cx="814452" cy="1587673"/>
          </a:xfrm>
          <a:custGeom>
            <a:avLst/>
            <a:gdLst/>
            <a:ahLst/>
            <a:cxnLst>
              <a:cxn ang="0">
                <a:pos x="13" y="7"/>
              </a:cxn>
              <a:cxn ang="0">
                <a:pos x="0" y="0"/>
              </a:cxn>
              <a:cxn ang="0">
                <a:pos x="0" y="214"/>
              </a:cxn>
              <a:cxn ang="0">
                <a:pos x="2" y="219"/>
              </a:cxn>
              <a:cxn ang="0">
                <a:pos x="66" y="279"/>
              </a:cxn>
              <a:cxn ang="0">
                <a:pos x="131" y="214"/>
              </a:cxn>
              <a:cxn ang="0">
                <a:pos x="118" y="201"/>
              </a:cxn>
              <a:cxn ang="0">
                <a:pos x="105" y="214"/>
              </a:cxn>
              <a:cxn ang="0">
                <a:pos x="66" y="253"/>
              </a:cxn>
              <a:cxn ang="0">
                <a:pos x="27" y="214"/>
              </a:cxn>
              <a:cxn ang="0">
                <a:pos x="26" y="211"/>
              </a:cxn>
              <a:cxn ang="0">
                <a:pos x="26" y="0"/>
              </a:cxn>
              <a:cxn ang="0">
                <a:pos x="13" y="7"/>
              </a:cxn>
              <a:cxn ang="0">
                <a:pos x="13" y="7"/>
              </a:cxn>
              <a:cxn ang="0">
                <a:pos x="13" y="7"/>
              </a:cxn>
            </a:cxnLst>
            <a:rect l="0" t="0" r="r" b="b"/>
            <a:pathLst>
              <a:path w="131" h="279">
                <a:moveTo>
                  <a:pt x="13" y="7"/>
                </a:moveTo>
                <a:cubicBezTo>
                  <a:pt x="8" y="7"/>
                  <a:pt x="3" y="4"/>
                  <a:pt x="0" y="0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16"/>
                  <a:pt x="1" y="218"/>
                  <a:pt x="2" y="219"/>
                </a:cubicBezTo>
                <a:cubicBezTo>
                  <a:pt x="4" y="253"/>
                  <a:pt x="32" y="279"/>
                  <a:pt x="66" y="279"/>
                </a:cubicBezTo>
                <a:cubicBezTo>
                  <a:pt x="102" y="279"/>
                  <a:pt x="131" y="250"/>
                  <a:pt x="131" y="214"/>
                </a:cubicBezTo>
                <a:cubicBezTo>
                  <a:pt x="131" y="207"/>
                  <a:pt x="126" y="201"/>
                  <a:pt x="118" y="201"/>
                </a:cubicBezTo>
                <a:cubicBezTo>
                  <a:pt x="111" y="201"/>
                  <a:pt x="105" y="207"/>
                  <a:pt x="105" y="214"/>
                </a:cubicBezTo>
                <a:cubicBezTo>
                  <a:pt x="105" y="236"/>
                  <a:pt x="88" y="253"/>
                  <a:pt x="66" y="253"/>
                </a:cubicBezTo>
                <a:cubicBezTo>
                  <a:pt x="45" y="253"/>
                  <a:pt x="27" y="236"/>
                  <a:pt x="27" y="214"/>
                </a:cubicBezTo>
                <a:cubicBezTo>
                  <a:pt x="27" y="213"/>
                  <a:pt x="27" y="212"/>
                  <a:pt x="26" y="211"/>
                </a:cubicBezTo>
                <a:cubicBezTo>
                  <a:pt x="26" y="0"/>
                  <a:pt x="26" y="0"/>
                  <a:pt x="26" y="0"/>
                </a:cubicBezTo>
                <a:cubicBezTo>
                  <a:pt x="24" y="4"/>
                  <a:pt x="19" y="7"/>
                  <a:pt x="13" y="7"/>
                </a:cubicBezTo>
                <a:close/>
                <a:moveTo>
                  <a:pt x="13" y="7"/>
                </a:moveTo>
                <a:cubicBezTo>
                  <a:pt x="13" y="7"/>
                  <a:pt x="13" y="7"/>
                  <a:pt x="13" y="7"/>
                </a:cubicBezTo>
              </a:path>
            </a:pathLst>
          </a:custGeom>
          <a:solidFill>
            <a:srgbClr val="7C7C7B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7C9BE0C2-0748-B047-987D-47C49161863A}"/>
              </a:ext>
            </a:extLst>
          </p:cNvPr>
          <p:cNvSpPr>
            <a:spLocks noEditPoints="1"/>
          </p:cNvSpPr>
          <p:nvPr/>
        </p:nvSpPr>
        <p:spPr bwMode="auto">
          <a:xfrm>
            <a:off x="5591062" y="1978158"/>
            <a:ext cx="162366" cy="299786"/>
          </a:xfrm>
          <a:custGeom>
            <a:avLst/>
            <a:gdLst/>
            <a:ahLst/>
            <a:cxnLst>
              <a:cxn ang="0">
                <a:pos x="26" y="52"/>
              </a:cxn>
              <a:cxn ang="0">
                <a:pos x="26" y="13"/>
              </a:cxn>
              <a:cxn ang="0">
                <a:pos x="13" y="0"/>
              </a:cxn>
              <a:cxn ang="0">
                <a:pos x="0" y="13"/>
              </a:cxn>
              <a:cxn ang="0">
                <a:pos x="0" y="52"/>
              </a:cxn>
              <a:cxn ang="0">
                <a:pos x="0" y="53"/>
              </a:cxn>
              <a:cxn ang="0">
                <a:pos x="26" y="53"/>
              </a:cxn>
              <a:cxn ang="0">
                <a:pos x="26" y="52"/>
              </a:cxn>
              <a:cxn ang="0">
                <a:pos x="26" y="52"/>
              </a:cxn>
              <a:cxn ang="0">
                <a:pos x="26" y="52"/>
              </a:cxn>
            </a:cxnLst>
            <a:rect l="0" t="0" r="r" b="b"/>
            <a:pathLst>
              <a:path w="26" h="53">
                <a:moveTo>
                  <a:pt x="26" y="52"/>
                </a:moveTo>
                <a:cubicBezTo>
                  <a:pt x="26" y="13"/>
                  <a:pt x="26" y="13"/>
                  <a:pt x="26" y="13"/>
                </a:cubicBezTo>
                <a:cubicBezTo>
                  <a:pt x="26" y="6"/>
                  <a:pt x="20" y="0"/>
                  <a:pt x="13" y="0"/>
                </a:cubicBezTo>
                <a:cubicBezTo>
                  <a:pt x="6" y="0"/>
                  <a:pt x="0" y="6"/>
                  <a:pt x="0" y="13"/>
                </a:cubicBezTo>
                <a:cubicBezTo>
                  <a:pt x="0" y="52"/>
                  <a:pt x="0" y="52"/>
                  <a:pt x="0" y="52"/>
                </a:cubicBezTo>
                <a:cubicBezTo>
                  <a:pt x="0" y="52"/>
                  <a:pt x="0" y="52"/>
                  <a:pt x="0" y="53"/>
                </a:cubicBezTo>
                <a:cubicBezTo>
                  <a:pt x="26" y="53"/>
                  <a:pt x="26" y="53"/>
                  <a:pt x="26" y="53"/>
                </a:cubicBezTo>
                <a:cubicBezTo>
                  <a:pt x="26" y="52"/>
                  <a:pt x="26" y="52"/>
                  <a:pt x="26" y="52"/>
                </a:cubicBezTo>
                <a:close/>
                <a:moveTo>
                  <a:pt x="26" y="52"/>
                </a:moveTo>
                <a:cubicBezTo>
                  <a:pt x="26" y="52"/>
                  <a:pt x="26" y="52"/>
                  <a:pt x="26" y="52"/>
                </a:cubicBezTo>
              </a:path>
            </a:pathLst>
          </a:custGeom>
          <a:solidFill>
            <a:srgbClr val="7C7C7B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6AA3EF4-479A-1745-A8AF-B5ACEFB21B34}"/>
              </a:ext>
            </a:extLst>
          </p:cNvPr>
          <p:cNvSpPr txBox="1"/>
          <p:nvPr/>
        </p:nvSpPr>
        <p:spPr>
          <a:xfrm>
            <a:off x="1800762" y="4560611"/>
            <a:ext cx="2369995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457200"/>
            <a:r>
              <a:rPr lang="en-US" sz="2000" b="1">
                <a:latin typeface="Calibri" panose="020F0502020204030204"/>
              </a:rPr>
              <a:t>Misspelled titles (2%)</a:t>
            </a:r>
            <a:endParaRPr lang="en-US" sz="2000" b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40F3236-39C8-AC4D-B099-1F2E29F11DF2}"/>
              </a:ext>
            </a:extLst>
          </p:cNvPr>
          <p:cNvSpPr txBox="1"/>
          <p:nvPr/>
        </p:nvSpPr>
        <p:spPr>
          <a:xfrm>
            <a:off x="869458" y="1663659"/>
            <a:ext cx="2465047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457200"/>
            <a:r>
              <a:rPr lang="en-US" sz="2000" b="1">
                <a:latin typeface="Calibri" panose="020F0502020204030204"/>
              </a:rPr>
              <a:t>Ambiguous titles (15%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2A1EEDA-0CE5-2848-AF4E-AA15A39B1113}"/>
              </a:ext>
            </a:extLst>
          </p:cNvPr>
          <p:cNvSpPr txBox="1"/>
          <p:nvPr/>
        </p:nvSpPr>
        <p:spPr>
          <a:xfrm>
            <a:off x="8175298" y="1660907"/>
            <a:ext cx="2208672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457200"/>
            <a:r>
              <a:rPr lang="en-US" sz="2000" b="1">
                <a:latin typeface="Calibri" panose="020F0502020204030204"/>
              </a:rPr>
              <a:t>Multiple books (5%)</a:t>
            </a:r>
            <a:endParaRPr lang="en-US" sz="2000" b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8FB643C-77AF-C64F-A853-95641D95867E}"/>
              </a:ext>
            </a:extLst>
          </p:cNvPr>
          <p:cNvSpPr txBox="1"/>
          <p:nvPr/>
        </p:nvSpPr>
        <p:spPr>
          <a:xfrm>
            <a:off x="7610636" y="4504666"/>
            <a:ext cx="2250937" cy="3077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457200"/>
            <a:r>
              <a:rPr lang="en-US" sz="2000" b="1">
                <a:latin typeface="Calibri" panose="020F0502020204030204"/>
              </a:rPr>
              <a:t>Multiple Genres (5%)</a:t>
            </a:r>
            <a:endParaRPr lang="en-US" sz="2000" b="1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DF30D82-A8DE-9640-BF50-897832AB075E}"/>
              </a:ext>
            </a:extLst>
          </p:cNvPr>
          <p:cNvCxnSpPr>
            <a:cxnSpLocks/>
          </p:cNvCxnSpPr>
          <p:nvPr/>
        </p:nvCxnSpPr>
        <p:spPr>
          <a:xfrm flipH="1">
            <a:off x="5073479" y="4260887"/>
            <a:ext cx="19313" cy="1239662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B663D15B-F71D-1B4E-8581-1A830E72AA88}"/>
              </a:ext>
            </a:extLst>
          </p:cNvPr>
          <p:cNvCxnSpPr/>
          <p:nvPr/>
        </p:nvCxnSpPr>
        <p:spPr>
          <a:xfrm flipH="1">
            <a:off x="4213816" y="5500203"/>
            <a:ext cx="869319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B4C2BD7-DD57-B948-ACCE-9B9CD9356BE4}"/>
              </a:ext>
            </a:extLst>
          </p:cNvPr>
          <p:cNvCxnSpPr>
            <a:cxnSpLocks/>
          </p:cNvCxnSpPr>
          <p:nvPr/>
        </p:nvCxnSpPr>
        <p:spPr>
          <a:xfrm>
            <a:off x="6298622" y="4260888"/>
            <a:ext cx="0" cy="119685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1D27D2FA-220F-8944-9B6A-B2D24980CBF8}"/>
              </a:ext>
            </a:extLst>
          </p:cNvPr>
          <p:cNvCxnSpPr>
            <a:cxnSpLocks/>
          </p:cNvCxnSpPr>
          <p:nvPr/>
        </p:nvCxnSpPr>
        <p:spPr>
          <a:xfrm>
            <a:off x="6298623" y="5464105"/>
            <a:ext cx="941903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CD55CC4-A19E-2C42-BAEC-D0C4EBDCDBF8}"/>
              </a:ext>
            </a:extLst>
          </p:cNvPr>
          <p:cNvCxnSpPr>
            <a:cxnSpLocks/>
          </p:cNvCxnSpPr>
          <p:nvPr/>
        </p:nvCxnSpPr>
        <p:spPr>
          <a:xfrm>
            <a:off x="4843648" y="1785970"/>
            <a:ext cx="0" cy="53876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BA94021-ABBD-B445-82A0-138776198C60}"/>
              </a:ext>
            </a:extLst>
          </p:cNvPr>
          <p:cNvCxnSpPr>
            <a:cxnSpLocks/>
          </p:cNvCxnSpPr>
          <p:nvPr/>
        </p:nvCxnSpPr>
        <p:spPr>
          <a:xfrm>
            <a:off x="6857220" y="1870437"/>
            <a:ext cx="1" cy="716919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76EA7803-C07E-DB42-BBEE-CA744BB647B3}"/>
              </a:ext>
            </a:extLst>
          </p:cNvPr>
          <p:cNvCxnSpPr>
            <a:cxnSpLocks/>
          </p:cNvCxnSpPr>
          <p:nvPr/>
        </p:nvCxnSpPr>
        <p:spPr>
          <a:xfrm flipH="1">
            <a:off x="3454400" y="1797908"/>
            <a:ext cx="141909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C1E1BAF-2943-F842-A681-7AB6A9E01B7D}"/>
              </a:ext>
            </a:extLst>
          </p:cNvPr>
          <p:cNvCxnSpPr>
            <a:cxnSpLocks/>
          </p:cNvCxnSpPr>
          <p:nvPr/>
        </p:nvCxnSpPr>
        <p:spPr>
          <a:xfrm flipV="1">
            <a:off x="6841098" y="1858534"/>
            <a:ext cx="921516" cy="14599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95370D08-2276-4884-8BA1-D3F60C4A6C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61874" y="2016914"/>
            <a:ext cx="1784285" cy="165763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114D2F1-1642-4E35-AAAD-30422C415F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46673" y="2026939"/>
            <a:ext cx="1778995" cy="173571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948D888B-0540-4DDF-99BE-56151B0CEB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93129" y="4894941"/>
            <a:ext cx="1814459" cy="148853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F80B303-3757-4513-8E13-690D2096DA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16426" y="4866773"/>
            <a:ext cx="1715533" cy="162776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7" name="Graphic 14" descr="Customer review outline">
            <a:extLst>
              <a:ext uri="{FF2B5EF4-FFF2-40B4-BE49-F238E27FC236}">
                <a16:creationId xmlns:a16="http://schemas.microsoft.com/office/drawing/2014/main" id="{CC18CBEF-8512-46CE-83D4-EEF3012F787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855200" y="3759199"/>
            <a:ext cx="1752599" cy="1744133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D27771CB-D0EA-4ABC-A385-B5056CB52B70}"/>
              </a:ext>
            </a:extLst>
          </p:cNvPr>
          <p:cNvSpPr txBox="1"/>
          <p:nvPr/>
        </p:nvSpPr>
        <p:spPr>
          <a:xfrm>
            <a:off x="10116607" y="4012139"/>
            <a:ext cx="1236137" cy="3385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b="1"/>
              <a:t>Soft-tagging</a:t>
            </a:r>
            <a:endParaRPr lang="en-US"/>
          </a:p>
        </p:txBody>
      </p:sp>
      <p:pic>
        <p:nvPicPr>
          <p:cNvPr id="41" name="Graphic 14" descr="Customer review outline">
            <a:extLst>
              <a:ext uri="{FF2B5EF4-FFF2-40B4-BE49-F238E27FC236}">
                <a16:creationId xmlns:a16="http://schemas.microsoft.com/office/drawing/2014/main" id="{D3191232-42DE-4A5E-91A9-B9C7F9235AC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132" y="3877732"/>
            <a:ext cx="1752599" cy="1744133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6BE0878D-F201-4B11-9EDE-B285DDF33D90}"/>
              </a:ext>
            </a:extLst>
          </p:cNvPr>
          <p:cNvSpPr txBox="1"/>
          <p:nvPr/>
        </p:nvSpPr>
        <p:spPr>
          <a:xfrm>
            <a:off x="354539" y="4130672"/>
            <a:ext cx="1236137" cy="3385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b="1"/>
              <a:t>OC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55351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468" y="265238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468" y="265238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152400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/>
            <a:endParaRPr lang="en-US" sz="20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3122D5A-53A0-4775-A0AE-C860A160B52D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7D3DCDD-332B-4A05-ABAD-32185BCEE011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112B991-1C2A-46A2-A311-2D5E7E4E88FC}"/>
              </a:ext>
            </a:extLst>
          </p:cNvPr>
          <p:cNvGrpSpPr/>
          <p:nvPr/>
        </p:nvGrpSpPr>
        <p:grpSpPr>
          <a:xfrm>
            <a:off x="622563" y="2354049"/>
            <a:ext cx="10946874" cy="2910909"/>
            <a:chOff x="728039" y="2115510"/>
            <a:chExt cx="10946874" cy="2910909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B92F62F-0F57-45A4-95E2-237FF35E2404}"/>
                </a:ext>
              </a:extLst>
            </p:cNvPr>
            <p:cNvGrpSpPr/>
            <p:nvPr/>
          </p:nvGrpSpPr>
          <p:grpSpPr>
            <a:xfrm>
              <a:off x="728039" y="2115510"/>
              <a:ext cx="2131361" cy="2910909"/>
              <a:chOff x="2914648" y="2051036"/>
              <a:chExt cx="2131361" cy="2910909"/>
            </a:xfrm>
          </p:grpSpPr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B8FEA491-A855-412C-BFF2-ED60C87C7804}"/>
                  </a:ext>
                </a:extLst>
              </p:cNvPr>
              <p:cNvSpPr txBox="1"/>
              <p:nvPr/>
            </p:nvSpPr>
            <p:spPr>
              <a:xfrm>
                <a:off x="2914648" y="4377170"/>
                <a:ext cx="2131361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Calibri" panose="020F0502020204030204" pitchFamily="34" charset="0"/>
                  </a:rPr>
                  <a:t>Problem Statement</a:t>
                </a:r>
              </a:p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Calibri" panose="020F0502020204030204" pitchFamily="34" charset="0"/>
                  </a:rPr>
                  <a:t> and Objectives</a:t>
                </a: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64CB14E9-22BB-4CBA-8403-7A33EDF137B6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64" name="Flowchart: Connector 63">
                  <a:extLst>
                    <a:ext uri="{FF2B5EF4-FFF2-40B4-BE49-F238E27FC236}">
                      <a16:creationId xmlns:a16="http://schemas.microsoft.com/office/drawing/2014/main" id="{222BEE9C-FEC6-4353-93CE-7BA842BCDC34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45556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DB0BAFA4-F586-4142-AA24-4B5FCE71E523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68" name="Arc 67">
                    <a:extLst>
                      <a:ext uri="{FF2B5EF4-FFF2-40B4-BE49-F238E27FC236}">
                        <a16:creationId xmlns:a16="http://schemas.microsoft.com/office/drawing/2014/main" id="{C605FA13-8DBB-4A02-ADD3-379345D55740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69" name="Straight Arrow Connector 68">
                    <a:extLst>
                      <a:ext uri="{FF2B5EF4-FFF2-40B4-BE49-F238E27FC236}">
                        <a16:creationId xmlns:a16="http://schemas.microsoft.com/office/drawing/2014/main" id="{2884B008-5164-454F-8FB7-533CDE0A086C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66" name="Straight Connector 65">
                  <a:extLst>
                    <a:ext uri="{FF2B5EF4-FFF2-40B4-BE49-F238E27FC236}">
                      <a16:creationId xmlns:a16="http://schemas.microsoft.com/office/drawing/2014/main" id="{CDFD1B24-7057-40D2-8C10-46494EBBEEF8}"/>
                    </a:ext>
                  </a:extLst>
                </p:cNvPr>
                <p:cNvCxnSpPr>
                  <a:cxnSpLocks/>
                  <a:stCxn id="68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7" name="TextBox 66">
                  <a:extLst>
                    <a:ext uri="{FF2B5EF4-FFF2-40B4-BE49-F238E27FC236}">
                      <a16:creationId xmlns:a16="http://schemas.microsoft.com/office/drawing/2014/main" id="{DDA6E48A-B1AF-4D15-BE74-741304DFE0EB}"/>
                    </a:ext>
                  </a:extLst>
                </p:cNvPr>
                <p:cNvSpPr txBox="1"/>
                <p:nvPr/>
              </p:nvSpPr>
              <p:spPr>
                <a:xfrm>
                  <a:off x="3511245" y="2373059"/>
                  <a:ext cx="777922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1</a:t>
                  </a:r>
                </a:p>
              </p:txBody>
            </p:sp>
          </p:grp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97014505-2C16-4922-9F8F-4F9626A3EF31}"/>
                </a:ext>
              </a:extLst>
            </p:cNvPr>
            <p:cNvGrpSpPr/>
            <p:nvPr/>
          </p:nvGrpSpPr>
          <p:grpSpPr>
            <a:xfrm>
              <a:off x="2931917" y="2115510"/>
              <a:ext cx="2131361" cy="2654528"/>
              <a:chOff x="2914648" y="2051036"/>
              <a:chExt cx="2131361" cy="2654528"/>
            </a:xfrm>
          </p:grpSpPr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9CA72168-84CE-4813-9377-CD3B754DC2FF}"/>
                  </a:ext>
                </a:extLst>
              </p:cNvPr>
              <p:cNvSpPr txBox="1"/>
              <p:nvPr/>
            </p:nvSpPr>
            <p:spPr>
              <a:xfrm>
                <a:off x="2914648" y="4367010"/>
                <a:ext cx="213136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/>
                  </a:rPr>
                  <a:t>Recommendation</a:t>
                </a:r>
              </a:p>
            </p:txBody>
          </p: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8B44BA6B-E1C2-4E79-9A18-EE802CDE426B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56" name="Flowchart: Connector 55">
                  <a:extLst>
                    <a:ext uri="{FF2B5EF4-FFF2-40B4-BE49-F238E27FC236}">
                      <a16:creationId xmlns:a16="http://schemas.microsoft.com/office/drawing/2014/main" id="{40C28735-08A8-4F6F-9875-373AE4BF9A58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45556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55DC320F-EDA8-4BE7-9DA0-54EB556B4807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60" name="Arc 59">
                    <a:extLst>
                      <a:ext uri="{FF2B5EF4-FFF2-40B4-BE49-F238E27FC236}">
                        <a16:creationId xmlns:a16="http://schemas.microsoft.com/office/drawing/2014/main" id="{C73CE287-55EF-4D72-A5F2-0CDE2628B540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61" name="Straight Arrow Connector 60">
                    <a:extLst>
                      <a:ext uri="{FF2B5EF4-FFF2-40B4-BE49-F238E27FC236}">
                        <a16:creationId xmlns:a16="http://schemas.microsoft.com/office/drawing/2014/main" id="{D04795E9-C071-4033-BF03-C8EB7434992C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8" name="Straight Connector 57">
                  <a:extLst>
                    <a:ext uri="{FF2B5EF4-FFF2-40B4-BE49-F238E27FC236}">
                      <a16:creationId xmlns:a16="http://schemas.microsoft.com/office/drawing/2014/main" id="{009A3F5B-E975-47B7-96DB-128740609551}"/>
                    </a:ext>
                  </a:extLst>
                </p:cNvPr>
                <p:cNvCxnSpPr>
                  <a:cxnSpLocks/>
                  <a:stCxn id="60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9" name="TextBox 58">
                  <a:extLst>
                    <a:ext uri="{FF2B5EF4-FFF2-40B4-BE49-F238E27FC236}">
                      <a16:creationId xmlns:a16="http://schemas.microsoft.com/office/drawing/2014/main" id="{0925E6A6-6D31-427B-B67A-D6E86B9B2A58}"/>
                    </a:ext>
                  </a:extLst>
                </p:cNvPr>
                <p:cNvSpPr txBox="1"/>
                <p:nvPr/>
              </p:nvSpPr>
              <p:spPr>
                <a:xfrm>
                  <a:off x="3507356" y="2373059"/>
                  <a:ext cx="785701" cy="132343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2</a:t>
                  </a:r>
                </a:p>
              </p:txBody>
            </p:sp>
          </p:grp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31EE24DB-B742-47EC-BF17-139CC3DD4D3E}"/>
                </a:ext>
              </a:extLst>
            </p:cNvPr>
            <p:cNvGrpSpPr/>
            <p:nvPr/>
          </p:nvGrpSpPr>
          <p:grpSpPr>
            <a:xfrm>
              <a:off x="5135795" y="2115510"/>
              <a:ext cx="2131361" cy="2654528"/>
              <a:chOff x="2914648" y="2051036"/>
              <a:chExt cx="2131361" cy="2654528"/>
            </a:xfrm>
          </p:grpSpPr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69BC433F-FB5C-4163-9FC7-E50959957535}"/>
                  </a:ext>
                </a:extLst>
              </p:cNvPr>
              <p:cNvSpPr txBox="1"/>
              <p:nvPr/>
            </p:nvSpPr>
            <p:spPr>
              <a:xfrm>
                <a:off x="2914648" y="4367010"/>
                <a:ext cx="213136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/>
                  </a:rPr>
                  <a:t>Solution</a:t>
                </a:r>
                <a:endParaRPr lang="en-US" sz="1800" b="1">
                  <a:solidFill>
                    <a:srgbClr val="6B6B6B"/>
                  </a:solidFill>
                  <a:latin typeface="Roboto Condensed"/>
                </a:endParaRPr>
              </a:p>
            </p:txBody>
          </p: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BA7C04F7-2345-4FC5-A927-8A0701B6D8DD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48" name="Flowchart: Connector 47">
                  <a:extLst>
                    <a:ext uri="{FF2B5EF4-FFF2-40B4-BE49-F238E27FC236}">
                      <a16:creationId xmlns:a16="http://schemas.microsoft.com/office/drawing/2014/main" id="{D4FF8C64-F2B9-4A75-8D07-82D01BAE4A55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45556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9" name="Group 48">
                  <a:extLst>
                    <a:ext uri="{FF2B5EF4-FFF2-40B4-BE49-F238E27FC236}">
                      <a16:creationId xmlns:a16="http://schemas.microsoft.com/office/drawing/2014/main" id="{88D55C04-62A6-422E-A310-E5302AA3EE11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52" name="Arc 51">
                    <a:extLst>
                      <a:ext uri="{FF2B5EF4-FFF2-40B4-BE49-F238E27FC236}">
                        <a16:creationId xmlns:a16="http://schemas.microsoft.com/office/drawing/2014/main" id="{FD2E6811-3916-48F9-887F-65A51E831BFF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53" name="Straight Arrow Connector 52">
                    <a:extLst>
                      <a:ext uri="{FF2B5EF4-FFF2-40B4-BE49-F238E27FC236}">
                        <a16:creationId xmlns:a16="http://schemas.microsoft.com/office/drawing/2014/main" id="{75D21054-8ECE-469E-8B06-E60FA078B0D1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0" name="Straight Connector 49">
                  <a:extLst>
                    <a:ext uri="{FF2B5EF4-FFF2-40B4-BE49-F238E27FC236}">
                      <a16:creationId xmlns:a16="http://schemas.microsoft.com/office/drawing/2014/main" id="{155360F9-9D6A-41AE-A0BB-14FC19835E07}"/>
                    </a:ext>
                  </a:extLst>
                </p:cNvPr>
                <p:cNvCxnSpPr>
                  <a:cxnSpLocks/>
                  <a:stCxn id="52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3A43AF1F-49BD-42C7-A160-3804FE56960F}"/>
                    </a:ext>
                  </a:extLst>
                </p:cNvPr>
                <p:cNvSpPr txBox="1"/>
                <p:nvPr/>
              </p:nvSpPr>
              <p:spPr>
                <a:xfrm>
                  <a:off x="3511245" y="2373059"/>
                  <a:ext cx="777922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3</a:t>
                  </a:r>
                </a:p>
              </p:txBody>
            </p:sp>
          </p:grp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6020D234-67C2-4ACB-A10D-7CCA7DD3C773}"/>
                </a:ext>
              </a:extLst>
            </p:cNvPr>
            <p:cNvGrpSpPr/>
            <p:nvPr/>
          </p:nvGrpSpPr>
          <p:grpSpPr>
            <a:xfrm>
              <a:off x="7339673" y="2115510"/>
              <a:ext cx="2131361" cy="2654528"/>
              <a:chOff x="2914648" y="2051036"/>
              <a:chExt cx="2131361" cy="2654528"/>
            </a:xfrm>
          </p:grpSpPr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983E13F1-9FE4-4B81-A90B-F211F6DB5CE5}"/>
                  </a:ext>
                </a:extLst>
              </p:cNvPr>
              <p:cNvSpPr txBox="1"/>
              <p:nvPr/>
            </p:nvSpPr>
            <p:spPr>
              <a:xfrm>
                <a:off x="2914648" y="4367010"/>
                <a:ext cx="213136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>
                    <a:solidFill>
                      <a:srgbClr val="6B6B6B"/>
                    </a:solidFill>
                    <a:latin typeface="Roboto Condensed"/>
                  </a:rPr>
                  <a:t>Way forward</a:t>
                </a:r>
                <a:endParaRPr lang="en-US" sz="1800" b="1">
                  <a:solidFill>
                    <a:srgbClr val="6B6B6B"/>
                  </a:solidFill>
                  <a:latin typeface="Roboto Condensed"/>
                </a:endParaRPr>
              </a:p>
            </p:txBody>
          </p: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93DAB995-67E7-4966-B7B2-2759A1FC5B2C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40" name="Flowchart: Connector 39">
                  <a:extLst>
                    <a:ext uri="{FF2B5EF4-FFF2-40B4-BE49-F238E27FC236}">
                      <a16:creationId xmlns:a16="http://schemas.microsoft.com/office/drawing/2014/main" id="{4E70B1D2-1E63-4A66-9CFB-89BAA56515BB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ED7D3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1" name="Group 40">
                  <a:extLst>
                    <a:ext uri="{FF2B5EF4-FFF2-40B4-BE49-F238E27FC236}">
                      <a16:creationId xmlns:a16="http://schemas.microsoft.com/office/drawing/2014/main" id="{C111C3E9-E9D0-4AF4-BF1E-91D3E2D2F807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44" name="Arc 43">
                    <a:extLst>
                      <a:ext uri="{FF2B5EF4-FFF2-40B4-BE49-F238E27FC236}">
                        <a16:creationId xmlns:a16="http://schemas.microsoft.com/office/drawing/2014/main" id="{30B1B492-3914-400B-A9E3-26948D2A0819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45" name="Straight Arrow Connector 44">
                    <a:extLst>
                      <a:ext uri="{FF2B5EF4-FFF2-40B4-BE49-F238E27FC236}">
                        <a16:creationId xmlns:a16="http://schemas.microsoft.com/office/drawing/2014/main" id="{E2B2D2FD-D772-4FEC-8C6C-948D4E31A5F5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9456486C-3105-447C-A323-13E872B13F17}"/>
                    </a:ext>
                  </a:extLst>
                </p:cNvPr>
                <p:cNvCxnSpPr>
                  <a:cxnSpLocks/>
                  <a:stCxn id="44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3" name="TextBox 42">
                  <a:extLst>
                    <a:ext uri="{FF2B5EF4-FFF2-40B4-BE49-F238E27FC236}">
                      <a16:creationId xmlns:a16="http://schemas.microsoft.com/office/drawing/2014/main" id="{BC0B7684-2F6A-4722-909D-852471D976FE}"/>
                    </a:ext>
                  </a:extLst>
                </p:cNvPr>
                <p:cNvSpPr txBox="1"/>
                <p:nvPr/>
              </p:nvSpPr>
              <p:spPr>
                <a:xfrm>
                  <a:off x="3507356" y="2373059"/>
                  <a:ext cx="785701" cy="132343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4</a:t>
                  </a:r>
                </a:p>
              </p:txBody>
            </p:sp>
          </p:grp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AF25D0-57AC-4ABC-AA87-705D9C8E5C49}"/>
                </a:ext>
              </a:extLst>
            </p:cNvPr>
            <p:cNvGrpSpPr/>
            <p:nvPr/>
          </p:nvGrpSpPr>
          <p:grpSpPr>
            <a:xfrm>
              <a:off x="9543552" y="2115510"/>
              <a:ext cx="2131361" cy="2654528"/>
              <a:chOff x="2914648" y="2051036"/>
              <a:chExt cx="2131361" cy="2654528"/>
            </a:xfrm>
          </p:grpSpPr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490D244C-C74F-48CA-8CD8-300153C369C9}"/>
                  </a:ext>
                </a:extLst>
              </p:cNvPr>
              <p:cNvSpPr txBox="1"/>
              <p:nvPr/>
            </p:nvSpPr>
            <p:spPr>
              <a:xfrm>
                <a:off x="2914648" y="4367010"/>
                <a:ext cx="213136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/>
                  </a:rPr>
                  <a:t>Recommendation</a:t>
                </a:r>
              </a:p>
            </p:txBody>
          </p: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6E26DB95-4DD2-4F41-B8A9-385F33616254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32" name="Flowchart: Connector 31">
                  <a:extLst>
                    <a:ext uri="{FF2B5EF4-FFF2-40B4-BE49-F238E27FC236}">
                      <a16:creationId xmlns:a16="http://schemas.microsoft.com/office/drawing/2014/main" id="{4C2F6C00-A0C5-49BF-8488-57B15D35F656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45556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33" name="Group 32">
                  <a:extLst>
                    <a:ext uri="{FF2B5EF4-FFF2-40B4-BE49-F238E27FC236}">
                      <a16:creationId xmlns:a16="http://schemas.microsoft.com/office/drawing/2014/main" id="{79D183E5-E92F-40F3-A0A2-9D388949B902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36" name="Arc 35">
                    <a:extLst>
                      <a:ext uri="{FF2B5EF4-FFF2-40B4-BE49-F238E27FC236}">
                        <a16:creationId xmlns:a16="http://schemas.microsoft.com/office/drawing/2014/main" id="{86B53493-4D5D-4A43-93D9-13E9D8841276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37" name="Straight Arrow Connector 36">
                    <a:extLst>
                      <a:ext uri="{FF2B5EF4-FFF2-40B4-BE49-F238E27FC236}">
                        <a16:creationId xmlns:a16="http://schemas.microsoft.com/office/drawing/2014/main" id="{A8EE492F-F236-4653-AAB5-221B2EE8CFA2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AAB0622E-74FE-4CE6-AD10-50101DFE71D7}"/>
                    </a:ext>
                  </a:extLst>
                </p:cNvPr>
                <p:cNvCxnSpPr>
                  <a:cxnSpLocks/>
                  <a:stCxn id="36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2A9CAB57-C196-4C1E-90B3-6F6994972F4B}"/>
                    </a:ext>
                  </a:extLst>
                </p:cNvPr>
                <p:cNvSpPr txBox="1"/>
                <p:nvPr/>
              </p:nvSpPr>
              <p:spPr>
                <a:xfrm>
                  <a:off x="3511245" y="2373059"/>
                  <a:ext cx="777922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5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7108691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A80A98B8-6DAB-784F-AE8C-FDC98086080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18265" y="5562668"/>
            <a:ext cx="2503515" cy="963852"/>
          </a:xfrm>
        </p:spPr>
        <p:txBody>
          <a:bodyPr>
            <a:normAutofit/>
          </a:bodyPr>
          <a:lstStyle/>
          <a:p>
            <a:r>
              <a:rPr lang="en-US" sz="2000" b="0">
                <a:solidFill>
                  <a:schemeClr val="tx1"/>
                </a:solidFill>
              </a:rPr>
              <a:t>Scrape Craigslist’s Book listing along with the image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93682FE-6899-FF43-95B7-657C6B6427F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622528" y="1661501"/>
            <a:ext cx="2700338" cy="692200"/>
          </a:xfrm>
        </p:spPr>
        <p:txBody>
          <a:bodyPr>
            <a:normAutofit/>
          </a:bodyPr>
          <a:lstStyle/>
          <a:p>
            <a:r>
              <a:rPr lang="en-US" sz="2000" b="0">
                <a:solidFill>
                  <a:schemeClr val="tx1"/>
                </a:solidFill>
              </a:rPr>
              <a:t>Preprocess the image to make it clearer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0DACE07F-6244-2B4D-8A9B-771CC068D47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348486" y="1750253"/>
            <a:ext cx="1888417" cy="514695"/>
          </a:xfrm>
        </p:spPr>
        <p:txBody>
          <a:bodyPr>
            <a:normAutofit fontScale="92500" lnSpcReduction="20000"/>
          </a:bodyPr>
          <a:lstStyle/>
          <a:p>
            <a:r>
              <a:rPr lang="en-US" sz="2000" b="0">
                <a:solidFill>
                  <a:schemeClr val="tx1"/>
                </a:solidFill>
              </a:rPr>
              <a:t>Tokenize and process text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920DCCA-3151-3147-B04A-DEF13B632EF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45830" y="5562668"/>
            <a:ext cx="2700339" cy="795771"/>
          </a:xfrm>
        </p:spPr>
        <p:txBody>
          <a:bodyPr>
            <a:normAutofit/>
          </a:bodyPr>
          <a:lstStyle/>
          <a:p>
            <a:r>
              <a:rPr lang="en-US" sz="2000" b="0">
                <a:solidFill>
                  <a:schemeClr val="tx1"/>
                </a:solidFill>
              </a:rPr>
              <a:t>Use Tesseract to convert image to text.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405B99D8-A9CA-CB42-8089-5A6C9C84878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734198" y="5562667"/>
            <a:ext cx="1566154" cy="795771"/>
          </a:xfrm>
        </p:spPr>
        <p:txBody>
          <a:bodyPr>
            <a:normAutofit/>
          </a:bodyPr>
          <a:lstStyle/>
          <a:p>
            <a:r>
              <a:rPr lang="en-US" sz="2000" b="0">
                <a:solidFill>
                  <a:schemeClr val="tx1"/>
                </a:solidFill>
              </a:rPr>
              <a:t>Validate it with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DC27924-8819-480D-A09F-6E2234846246}"/>
              </a:ext>
            </a:extLst>
          </p:cNvPr>
          <p:cNvSpPr/>
          <p:nvPr/>
        </p:nvSpPr>
        <p:spPr>
          <a:xfrm>
            <a:off x="0" y="293170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6558C92-42B4-4E1B-9565-A952D88F8440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4C91511-C99A-43C8-8C90-AADAACF14290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>
                <a:solidFill>
                  <a:schemeClr val="bg2">
                    <a:lumMod val="25000"/>
                  </a:schemeClr>
                </a:solidFill>
              </a:rPr>
              <a:t>Additional Image Analysis</a:t>
            </a:r>
          </a:p>
        </p:txBody>
      </p:sp>
      <p:pic>
        <p:nvPicPr>
          <p:cNvPr id="1032" name="Picture 8" descr="Image result for tuning icon">
            <a:extLst>
              <a:ext uri="{FF2B5EF4-FFF2-40B4-BE49-F238E27FC236}">
                <a16:creationId xmlns:a16="http://schemas.microsoft.com/office/drawing/2014/main" id="{F823609C-20BA-4039-A30F-EF3734E869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4810" y="3480605"/>
            <a:ext cx="795771" cy="795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Image result for evaluation icon">
            <a:extLst>
              <a:ext uri="{FF2B5EF4-FFF2-40B4-BE49-F238E27FC236}">
                <a16:creationId xmlns:a16="http://schemas.microsoft.com/office/drawing/2014/main" id="{18E3820A-AC64-426C-990D-E32F534020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950" y="3358949"/>
            <a:ext cx="920651" cy="920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phic 2" descr="Images with solid fill">
            <a:extLst>
              <a:ext uri="{FF2B5EF4-FFF2-40B4-BE49-F238E27FC236}">
                <a16:creationId xmlns:a16="http://schemas.microsoft.com/office/drawing/2014/main" id="{7092CDF3-732A-4C4D-9DEC-95916257CFB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14399" y="3405089"/>
            <a:ext cx="914400" cy="914400"/>
          </a:xfrm>
          <a:prstGeom prst="rect">
            <a:avLst/>
          </a:prstGeom>
        </p:spPr>
      </p:pic>
      <p:pic>
        <p:nvPicPr>
          <p:cNvPr id="5" name="Graphic 4" descr="Aperture with solid fill">
            <a:extLst>
              <a:ext uri="{FF2B5EF4-FFF2-40B4-BE49-F238E27FC236}">
                <a16:creationId xmlns:a16="http://schemas.microsoft.com/office/drawing/2014/main" id="{3D310F41-2FE4-43CC-977C-726662C734F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27136" y="3480605"/>
            <a:ext cx="914400" cy="914400"/>
          </a:xfrm>
          <a:prstGeom prst="rect">
            <a:avLst/>
          </a:prstGeom>
        </p:spPr>
      </p:pic>
      <p:pic>
        <p:nvPicPr>
          <p:cNvPr id="7" name="Graphic 6" descr="Document outline">
            <a:extLst>
              <a:ext uri="{FF2B5EF4-FFF2-40B4-BE49-F238E27FC236}">
                <a16:creationId xmlns:a16="http://schemas.microsoft.com/office/drawing/2014/main" id="{84C57A75-1B39-48B0-8065-09D4517434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8799" y="336202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0404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468" y="265238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468" y="265238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152400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/>
            <a:endParaRPr lang="en-US" sz="20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3122D5A-53A0-4775-A0AE-C860A160B52D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7D3DCDD-332B-4A05-ABAD-32185BCEE011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50055D8-B216-43D3-B844-16C232E67075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800" b="1">
                <a:solidFill>
                  <a:schemeClr val="bg2">
                    <a:lumMod val="25000"/>
                  </a:schemeClr>
                </a:solidFill>
                <a:cs typeface="Calibri"/>
              </a:rPr>
              <a:t>Result</a:t>
            </a:r>
            <a:endParaRPr lang="en-US"/>
          </a:p>
        </p:txBody>
      </p:sp>
      <p:pic>
        <p:nvPicPr>
          <p:cNvPr id="2" name="Picture 2" descr="Calendar&#10;&#10;Description automatically generated">
            <a:extLst>
              <a:ext uri="{FF2B5EF4-FFF2-40B4-BE49-F238E27FC236}">
                <a16:creationId xmlns:a16="http://schemas.microsoft.com/office/drawing/2014/main" id="{1968913F-1FBA-4001-84B9-388DBD9F3BA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120" r="-198" b="-162"/>
          <a:stretch/>
        </p:blipFill>
        <p:spPr>
          <a:xfrm>
            <a:off x="1151467" y="1324419"/>
            <a:ext cx="4284133" cy="523363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E0F4C06-82C6-4EBB-A8D1-3E95EC03335B}"/>
              </a:ext>
            </a:extLst>
          </p:cNvPr>
          <p:cNvSpPr txBox="1"/>
          <p:nvPr/>
        </p:nvSpPr>
        <p:spPr>
          <a:xfrm>
            <a:off x="3421652" y="1029356"/>
            <a:ext cx="1056095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1117560"/>
            <a:r>
              <a:rPr lang="en-US" sz="1600" b="1">
                <a:solidFill>
                  <a:srgbClr val="6B6B6B"/>
                </a:solidFill>
                <a:latin typeface="Roboto Condensed"/>
              </a:rPr>
              <a:t>Processed</a:t>
            </a:r>
            <a:endParaRPr lang="en-US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7A7C428-A29D-49A9-8B57-FE1DAA11F218}"/>
              </a:ext>
            </a:extLst>
          </p:cNvPr>
          <p:cNvSpPr txBox="1"/>
          <p:nvPr/>
        </p:nvSpPr>
        <p:spPr>
          <a:xfrm>
            <a:off x="2134718" y="1029356"/>
            <a:ext cx="1056095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1117560"/>
            <a:r>
              <a:rPr lang="en-US" sz="1600" b="1">
                <a:solidFill>
                  <a:srgbClr val="6B6B6B"/>
                </a:solidFill>
                <a:latin typeface="Roboto Condensed"/>
              </a:rPr>
              <a:t>Original</a:t>
            </a:r>
            <a:endParaRPr lang="en-US"/>
          </a:p>
        </p:txBody>
      </p:sp>
      <p:pic>
        <p:nvPicPr>
          <p:cNvPr id="5" name="Graphic 5" descr="Shuffle with solid fill">
            <a:extLst>
              <a:ext uri="{FF2B5EF4-FFF2-40B4-BE49-F238E27FC236}">
                <a16:creationId xmlns:a16="http://schemas.microsoft.com/office/drawing/2014/main" id="{744719E6-4046-465C-85B2-377AF2466BB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113866" y="3149600"/>
            <a:ext cx="1295400" cy="1295400"/>
          </a:xfrm>
          <a:prstGeom prst="rect">
            <a:avLst/>
          </a:prstGeom>
        </p:spPr>
      </p:pic>
      <p:pic>
        <p:nvPicPr>
          <p:cNvPr id="6" name="Picture 7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591AB017-5F8A-4E2A-8AA0-5457A5667950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7178" b="-720"/>
          <a:stretch/>
        </p:blipFill>
        <p:spPr>
          <a:xfrm>
            <a:off x="6781800" y="3202665"/>
            <a:ext cx="4825394" cy="118930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6700945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468" y="265238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468" y="265238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152400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/>
            <a:endParaRPr lang="en-US" sz="20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3122D5A-53A0-4775-A0AE-C860A160B52D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7D3DCDD-332B-4A05-ABAD-32185BCEE011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50055D8-B216-43D3-B844-16C232E67075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800" b="1">
                <a:solidFill>
                  <a:schemeClr val="bg2">
                    <a:lumMod val="25000"/>
                  </a:schemeClr>
                </a:solidFill>
                <a:cs typeface="Calibri"/>
              </a:rPr>
              <a:t>Result</a:t>
            </a:r>
            <a:endParaRPr lang="en-US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E0F4C06-82C6-4EBB-A8D1-3E95EC03335B}"/>
              </a:ext>
            </a:extLst>
          </p:cNvPr>
          <p:cNvSpPr txBox="1"/>
          <p:nvPr/>
        </p:nvSpPr>
        <p:spPr>
          <a:xfrm>
            <a:off x="3463985" y="1918356"/>
            <a:ext cx="1056095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1117560"/>
            <a:r>
              <a:rPr lang="en-US" sz="1600" b="1">
                <a:solidFill>
                  <a:srgbClr val="6B6B6B"/>
                </a:solidFill>
                <a:latin typeface="Roboto Condensed"/>
              </a:rPr>
              <a:t>Processed</a:t>
            </a:r>
            <a:endParaRPr lang="en-US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7A7C428-A29D-49A9-8B57-FE1DAA11F218}"/>
              </a:ext>
            </a:extLst>
          </p:cNvPr>
          <p:cNvSpPr txBox="1"/>
          <p:nvPr/>
        </p:nvSpPr>
        <p:spPr>
          <a:xfrm>
            <a:off x="2143185" y="1918356"/>
            <a:ext cx="1056095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1117560"/>
            <a:r>
              <a:rPr lang="en-US" sz="1600" b="1">
                <a:solidFill>
                  <a:srgbClr val="6B6B6B"/>
                </a:solidFill>
                <a:latin typeface="Roboto Condensed"/>
              </a:rPr>
              <a:t>Original</a:t>
            </a:r>
            <a:endParaRPr lang="en-US"/>
          </a:p>
        </p:txBody>
      </p:sp>
      <p:pic>
        <p:nvPicPr>
          <p:cNvPr id="5" name="Graphic 5" descr="Shuffle with solid fill">
            <a:extLst>
              <a:ext uri="{FF2B5EF4-FFF2-40B4-BE49-F238E27FC236}">
                <a16:creationId xmlns:a16="http://schemas.microsoft.com/office/drawing/2014/main" id="{744719E6-4046-465C-85B2-377AF2466BB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51400" y="3200400"/>
            <a:ext cx="1295400" cy="1295400"/>
          </a:xfrm>
          <a:prstGeom prst="rect">
            <a:avLst/>
          </a:prstGeom>
        </p:spPr>
      </p:pic>
      <p:pic>
        <p:nvPicPr>
          <p:cNvPr id="3" name="Picture 7" descr="Calendar&#10;&#10;Description automatically generated">
            <a:extLst>
              <a:ext uri="{FF2B5EF4-FFF2-40B4-BE49-F238E27FC236}">
                <a16:creationId xmlns:a16="http://schemas.microsoft.com/office/drawing/2014/main" id="{A510A4FF-1279-4175-BCCE-6D22137A67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62667" y="2257800"/>
            <a:ext cx="2743200" cy="352773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F303938-5262-4191-A2C0-734879C116AF}"/>
              </a:ext>
            </a:extLst>
          </p:cNvPr>
          <p:cNvSpPr txBox="1"/>
          <p:nvPr/>
        </p:nvSpPr>
        <p:spPr>
          <a:xfrm>
            <a:off x="7586134" y="2641600"/>
            <a:ext cx="2743200" cy="258532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'OS ppg </a:t>
            </a:r>
            <a:r>
              <a:rPr lang="en-US" err="1"/>
              <a:t>hese</a:t>
            </a:r>
            <a:r>
              <a:rPr lang="en-US"/>
              <a:t> </a:t>
            </a:r>
            <a:r>
              <a:rPr lang="en-US" b="1"/>
              <a:t>MAJOR INAPAK</a:t>
            </a:r>
            <a:r>
              <a:rPr lang="en-US"/>
              <a:t> PE </a:t>
            </a:r>
            <a:r>
              <a:rPr lang="en-US" err="1"/>
              <a:t>Mh</a:t>
            </a:r>
            <a:r>
              <a:rPr lang="en-US"/>
              <a:t> THE </a:t>
            </a:r>
            <a:r>
              <a:rPr lang="en-US" err="1"/>
              <a:t>jaye</a:t>
            </a:r>
            <a:r>
              <a:rPr lang="en-US"/>
              <a:t> ZA </a:t>
            </a:r>
            <a:r>
              <a:rPr lang="en-US" err="1"/>
              <a:t>el</a:t>
            </a:r>
            <a:r>
              <a:rPr lang="en-US"/>
              <a:t> AGE </a:t>
            </a:r>
            <a:r>
              <a:rPr lang="en-US" err="1"/>
              <a:t>ea</a:t>
            </a:r>
            <a:r>
              <a:rPr lang="en-US"/>
              <a:t> eds Lan hi gg Ny Ra ae SES Seen Sn </a:t>
            </a:r>
            <a:r>
              <a:rPr lang="en-US" err="1"/>
              <a:t>fe</a:t>
            </a:r>
            <a:r>
              <a:rPr lang="en-US"/>
              <a:t> </a:t>
            </a:r>
            <a:r>
              <a:rPr lang="en-US" err="1"/>
              <a:t>yA</a:t>
            </a:r>
            <a:r>
              <a:rPr lang="en-US"/>
              <a:t> </a:t>
            </a:r>
            <a:r>
              <a:rPr lang="en-US" err="1"/>
              <a:t>sige</a:t>
            </a:r>
            <a:r>
              <a:rPr lang="en-US"/>
              <a:t> San NCAA Saar', </a:t>
            </a: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'</a:t>
            </a:r>
            <a:r>
              <a:rPr lang="en-US" b="1"/>
              <a:t>DOGS OF CHARACTER </a:t>
            </a:r>
            <a:r>
              <a:rPr lang="en-US"/>
              <a:t>E Poe </a:t>
            </a:r>
            <a:r>
              <a:rPr lang="en-US" err="1"/>
              <a:t>oe</a:t>
            </a:r>
            <a:r>
              <a:rPr lang="en-US"/>
              <a:t> </a:t>
            </a:r>
            <a:r>
              <a:rPr lang="en-US" err="1"/>
              <a:t>eo</a:t>
            </a:r>
            <a:r>
              <a:rPr lang="en-US"/>
              <a:t> SE CUES'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8C7B809-2367-4ABC-A535-DDB2BDA615DB}"/>
              </a:ext>
            </a:extLst>
          </p:cNvPr>
          <p:cNvSpPr txBox="1"/>
          <p:nvPr/>
        </p:nvSpPr>
        <p:spPr>
          <a:xfrm>
            <a:off x="7542374" y="1918357"/>
            <a:ext cx="2131361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1117560"/>
            <a:r>
              <a:rPr lang="en-US" sz="1600" b="1">
                <a:solidFill>
                  <a:srgbClr val="6B6B6B"/>
                </a:solidFill>
                <a:latin typeface="Roboto Condensed"/>
                <a:ea typeface="Roboto Condensed"/>
              </a:rPr>
              <a:t>Image-to-Text</a:t>
            </a:r>
          </a:p>
        </p:txBody>
      </p:sp>
    </p:spTree>
    <p:extLst>
      <p:ext uri="{BB962C8B-B14F-4D97-AF65-F5344CB8AC3E}">
        <p14:creationId xmlns:p14="http://schemas.microsoft.com/office/powerpoint/2010/main" val="28211322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468" y="265238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468" y="265238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152400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/>
            <a:endParaRPr lang="en-US" sz="20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3122D5A-53A0-4775-A0AE-C860A160B52D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7D3DCDD-332B-4A05-ABAD-32185BCEE011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112B991-1C2A-46A2-A311-2D5E7E4E88FC}"/>
              </a:ext>
            </a:extLst>
          </p:cNvPr>
          <p:cNvGrpSpPr/>
          <p:nvPr/>
        </p:nvGrpSpPr>
        <p:grpSpPr>
          <a:xfrm>
            <a:off x="622563" y="2354049"/>
            <a:ext cx="10946874" cy="2910909"/>
            <a:chOff x="728039" y="2115510"/>
            <a:chExt cx="10946874" cy="2910909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B92F62F-0F57-45A4-95E2-237FF35E2404}"/>
                </a:ext>
              </a:extLst>
            </p:cNvPr>
            <p:cNvGrpSpPr/>
            <p:nvPr/>
          </p:nvGrpSpPr>
          <p:grpSpPr>
            <a:xfrm>
              <a:off x="728039" y="2115510"/>
              <a:ext cx="2131361" cy="2910909"/>
              <a:chOff x="2914648" y="2051036"/>
              <a:chExt cx="2131361" cy="2910909"/>
            </a:xfrm>
          </p:grpSpPr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B8FEA491-A855-412C-BFF2-ED60C87C7804}"/>
                  </a:ext>
                </a:extLst>
              </p:cNvPr>
              <p:cNvSpPr txBox="1"/>
              <p:nvPr/>
            </p:nvSpPr>
            <p:spPr>
              <a:xfrm>
                <a:off x="2914648" y="4377170"/>
                <a:ext cx="2131361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Calibri" panose="020F0502020204030204" pitchFamily="34" charset="0"/>
                  </a:rPr>
                  <a:t>Problem Statement</a:t>
                </a:r>
              </a:p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Calibri" panose="020F0502020204030204" pitchFamily="34" charset="0"/>
                  </a:rPr>
                  <a:t> and Objectives</a:t>
                </a: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64CB14E9-22BB-4CBA-8403-7A33EDF137B6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64" name="Flowchart: Connector 63">
                  <a:extLst>
                    <a:ext uri="{FF2B5EF4-FFF2-40B4-BE49-F238E27FC236}">
                      <a16:creationId xmlns:a16="http://schemas.microsoft.com/office/drawing/2014/main" id="{222BEE9C-FEC6-4353-93CE-7BA842BCDC34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45556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DB0BAFA4-F586-4142-AA24-4B5FCE71E523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68" name="Arc 67">
                    <a:extLst>
                      <a:ext uri="{FF2B5EF4-FFF2-40B4-BE49-F238E27FC236}">
                        <a16:creationId xmlns:a16="http://schemas.microsoft.com/office/drawing/2014/main" id="{C605FA13-8DBB-4A02-ADD3-379345D55740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69" name="Straight Arrow Connector 68">
                    <a:extLst>
                      <a:ext uri="{FF2B5EF4-FFF2-40B4-BE49-F238E27FC236}">
                        <a16:creationId xmlns:a16="http://schemas.microsoft.com/office/drawing/2014/main" id="{2884B008-5164-454F-8FB7-533CDE0A086C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66" name="Straight Connector 65">
                  <a:extLst>
                    <a:ext uri="{FF2B5EF4-FFF2-40B4-BE49-F238E27FC236}">
                      <a16:creationId xmlns:a16="http://schemas.microsoft.com/office/drawing/2014/main" id="{CDFD1B24-7057-40D2-8C10-46494EBBEEF8}"/>
                    </a:ext>
                  </a:extLst>
                </p:cNvPr>
                <p:cNvCxnSpPr>
                  <a:cxnSpLocks/>
                  <a:stCxn id="68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7" name="TextBox 66">
                  <a:extLst>
                    <a:ext uri="{FF2B5EF4-FFF2-40B4-BE49-F238E27FC236}">
                      <a16:creationId xmlns:a16="http://schemas.microsoft.com/office/drawing/2014/main" id="{DDA6E48A-B1AF-4D15-BE74-741304DFE0EB}"/>
                    </a:ext>
                  </a:extLst>
                </p:cNvPr>
                <p:cNvSpPr txBox="1"/>
                <p:nvPr/>
              </p:nvSpPr>
              <p:spPr>
                <a:xfrm>
                  <a:off x="3511245" y="2373059"/>
                  <a:ext cx="777922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1</a:t>
                  </a:r>
                </a:p>
              </p:txBody>
            </p:sp>
          </p:grp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97014505-2C16-4922-9F8F-4F9626A3EF31}"/>
                </a:ext>
              </a:extLst>
            </p:cNvPr>
            <p:cNvGrpSpPr/>
            <p:nvPr/>
          </p:nvGrpSpPr>
          <p:grpSpPr>
            <a:xfrm>
              <a:off x="2931917" y="2115510"/>
              <a:ext cx="2131361" cy="2654528"/>
              <a:chOff x="2914648" y="2051036"/>
              <a:chExt cx="2131361" cy="2654528"/>
            </a:xfrm>
          </p:grpSpPr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9CA72168-84CE-4813-9377-CD3B754DC2FF}"/>
                  </a:ext>
                </a:extLst>
              </p:cNvPr>
              <p:cNvSpPr txBox="1"/>
              <p:nvPr/>
            </p:nvSpPr>
            <p:spPr>
              <a:xfrm>
                <a:off x="2914648" y="4367010"/>
                <a:ext cx="213136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/>
                  </a:rPr>
                  <a:t>Recommendation</a:t>
                </a:r>
              </a:p>
            </p:txBody>
          </p: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8B44BA6B-E1C2-4E79-9A18-EE802CDE426B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56" name="Flowchart: Connector 55">
                  <a:extLst>
                    <a:ext uri="{FF2B5EF4-FFF2-40B4-BE49-F238E27FC236}">
                      <a16:creationId xmlns:a16="http://schemas.microsoft.com/office/drawing/2014/main" id="{40C28735-08A8-4F6F-9875-373AE4BF9A58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45556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55DC320F-EDA8-4BE7-9DA0-54EB556B4807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60" name="Arc 59">
                    <a:extLst>
                      <a:ext uri="{FF2B5EF4-FFF2-40B4-BE49-F238E27FC236}">
                        <a16:creationId xmlns:a16="http://schemas.microsoft.com/office/drawing/2014/main" id="{C73CE287-55EF-4D72-A5F2-0CDE2628B540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61" name="Straight Arrow Connector 60">
                    <a:extLst>
                      <a:ext uri="{FF2B5EF4-FFF2-40B4-BE49-F238E27FC236}">
                        <a16:creationId xmlns:a16="http://schemas.microsoft.com/office/drawing/2014/main" id="{D04795E9-C071-4033-BF03-C8EB7434992C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8" name="Straight Connector 57">
                  <a:extLst>
                    <a:ext uri="{FF2B5EF4-FFF2-40B4-BE49-F238E27FC236}">
                      <a16:creationId xmlns:a16="http://schemas.microsoft.com/office/drawing/2014/main" id="{009A3F5B-E975-47B7-96DB-128740609551}"/>
                    </a:ext>
                  </a:extLst>
                </p:cNvPr>
                <p:cNvCxnSpPr>
                  <a:cxnSpLocks/>
                  <a:stCxn id="60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9" name="TextBox 58">
                  <a:extLst>
                    <a:ext uri="{FF2B5EF4-FFF2-40B4-BE49-F238E27FC236}">
                      <a16:creationId xmlns:a16="http://schemas.microsoft.com/office/drawing/2014/main" id="{0925E6A6-6D31-427B-B67A-D6E86B9B2A58}"/>
                    </a:ext>
                  </a:extLst>
                </p:cNvPr>
                <p:cNvSpPr txBox="1"/>
                <p:nvPr/>
              </p:nvSpPr>
              <p:spPr>
                <a:xfrm>
                  <a:off x="3507356" y="2373059"/>
                  <a:ext cx="785701" cy="132343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2</a:t>
                  </a:r>
                </a:p>
              </p:txBody>
            </p:sp>
          </p:grp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31EE24DB-B742-47EC-BF17-139CC3DD4D3E}"/>
                </a:ext>
              </a:extLst>
            </p:cNvPr>
            <p:cNvGrpSpPr/>
            <p:nvPr/>
          </p:nvGrpSpPr>
          <p:grpSpPr>
            <a:xfrm>
              <a:off x="5135795" y="2115510"/>
              <a:ext cx="2131361" cy="2654528"/>
              <a:chOff x="2914648" y="2051036"/>
              <a:chExt cx="2131361" cy="2654528"/>
            </a:xfrm>
          </p:grpSpPr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69BC433F-FB5C-4163-9FC7-E50959957535}"/>
                  </a:ext>
                </a:extLst>
              </p:cNvPr>
              <p:cNvSpPr txBox="1"/>
              <p:nvPr/>
            </p:nvSpPr>
            <p:spPr>
              <a:xfrm>
                <a:off x="2914648" y="4367010"/>
                <a:ext cx="213136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/>
                  </a:rPr>
                  <a:t>Solution</a:t>
                </a:r>
                <a:endParaRPr lang="en-US" sz="1800" b="1">
                  <a:solidFill>
                    <a:srgbClr val="6B6B6B"/>
                  </a:solidFill>
                  <a:latin typeface="Roboto Condensed"/>
                </a:endParaRPr>
              </a:p>
            </p:txBody>
          </p: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BA7C04F7-2345-4FC5-A927-8A0701B6D8DD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48" name="Flowchart: Connector 47">
                  <a:extLst>
                    <a:ext uri="{FF2B5EF4-FFF2-40B4-BE49-F238E27FC236}">
                      <a16:creationId xmlns:a16="http://schemas.microsoft.com/office/drawing/2014/main" id="{D4FF8C64-F2B9-4A75-8D07-82D01BAE4A55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45556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9" name="Group 48">
                  <a:extLst>
                    <a:ext uri="{FF2B5EF4-FFF2-40B4-BE49-F238E27FC236}">
                      <a16:creationId xmlns:a16="http://schemas.microsoft.com/office/drawing/2014/main" id="{88D55C04-62A6-422E-A310-E5302AA3EE11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52" name="Arc 51">
                    <a:extLst>
                      <a:ext uri="{FF2B5EF4-FFF2-40B4-BE49-F238E27FC236}">
                        <a16:creationId xmlns:a16="http://schemas.microsoft.com/office/drawing/2014/main" id="{FD2E6811-3916-48F9-887F-65A51E831BFF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53" name="Straight Arrow Connector 52">
                    <a:extLst>
                      <a:ext uri="{FF2B5EF4-FFF2-40B4-BE49-F238E27FC236}">
                        <a16:creationId xmlns:a16="http://schemas.microsoft.com/office/drawing/2014/main" id="{75D21054-8ECE-469E-8B06-E60FA078B0D1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0" name="Straight Connector 49">
                  <a:extLst>
                    <a:ext uri="{FF2B5EF4-FFF2-40B4-BE49-F238E27FC236}">
                      <a16:creationId xmlns:a16="http://schemas.microsoft.com/office/drawing/2014/main" id="{155360F9-9D6A-41AE-A0BB-14FC19835E07}"/>
                    </a:ext>
                  </a:extLst>
                </p:cNvPr>
                <p:cNvCxnSpPr>
                  <a:cxnSpLocks/>
                  <a:stCxn id="52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3A43AF1F-49BD-42C7-A160-3804FE56960F}"/>
                    </a:ext>
                  </a:extLst>
                </p:cNvPr>
                <p:cNvSpPr txBox="1"/>
                <p:nvPr/>
              </p:nvSpPr>
              <p:spPr>
                <a:xfrm>
                  <a:off x="3511245" y="2373059"/>
                  <a:ext cx="777922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3</a:t>
                  </a:r>
                </a:p>
              </p:txBody>
            </p:sp>
          </p:grp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6020D234-67C2-4ACB-A10D-7CCA7DD3C773}"/>
                </a:ext>
              </a:extLst>
            </p:cNvPr>
            <p:cNvGrpSpPr/>
            <p:nvPr/>
          </p:nvGrpSpPr>
          <p:grpSpPr>
            <a:xfrm>
              <a:off x="7339673" y="2115510"/>
              <a:ext cx="2131361" cy="2654528"/>
              <a:chOff x="2914648" y="2051036"/>
              <a:chExt cx="2131361" cy="2654528"/>
            </a:xfrm>
          </p:grpSpPr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983E13F1-9FE4-4B81-A90B-F211F6DB5CE5}"/>
                  </a:ext>
                </a:extLst>
              </p:cNvPr>
              <p:cNvSpPr txBox="1"/>
              <p:nvPr/>
            </p:nvSpPr>
            <p:spPr>
              <a:xfrm>
                <a:off x="2914648" y="4367010"/>
                <a:ext cx="213136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>
                    <a:solidFill>
                      <a:srgbClr val="6B6B6B"/>
                    </a:solidFill>
                    <a:latin typeface="Roboto Condensed"/>
                  </a:rPr>
                  <a:t>Way forward</a:t>
                </a:r>
                <a:endParaRPr lang="en-US" sz="1800" b="1">
                  <a:solidFill>
                    <a:srgbClr val="6B6B6B"/>
                  </a:solidFill>
                  <a:latin typeface="Roboto Condensed"/>
                </a:endParaRPr>
              </a:p>
            </p:txBody>
          </p: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93DAB995-67E7-4966-B7B2-2759A1FC5B2C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40" name="Flowchart: Connector 39">
                  <a:extLst>
                    <a:ext uri="{FF2B5EF4-FFF2-40B4-BE49-F238E27FC236}">
                      <a16:creationId xmlns:a16="http://schemas.microsoft.com/office/drawing/2014/main" id="{4E70B1D2-1E63-4A66-9CFB-89BAA56515BB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45556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1" name="Group 40">
                  <a:extLst>
                    <a:ext uri="{FF2B5EF4-FFF2-40B4-BE49-F238E27FC236}">
                      <a16:creationId xmlns:a16="http://schemas.microsoft.com/office/drawing/2014/main" id="{C111C3E9-E9D0-4AF4-BF1E-91D3E2D2F807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44" name="Arc 43">
                    <a:extLst>
                      <a:ext uri="{FF2B5EF4-FFF2-40B4-BE49-F238E27FC236}">
                        <a16:creationId xmlns:a16="http://schemas.microsoft.com/office/drawing/2014/main" id="{30B1B492-3914-400B-A9E3-26948D2A0819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45" name="Straight Arrow Connector 44">
                    <a:extLst>
                      <a:ext uri="{FF2B5EF4-FFF2-40B4-BE49-F238E27FC236}">
                        <a16:creationId xmlns:a16="http://schemas.microsoft.com/office/drawing/2014/main" id="{E2B2D2FD-D772-4FEC-8C6C-948D4E31A5F5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9456486C-3105-447C-A323-13E872B13F17}"/>
                    </a:ext>
                  </a:extLst>
                </p:cNvPr>
                <p:cNvCxnSpPr>
                  <a:cxnSpLocks/>
                  <a:stCxn id="44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3" name="TextBox 42">
                  <a:extLst>
                    <a:ext uri="{FF2B5EF4-FFF2-40B4-BE49-F238E27FC236}">
                      <a16:creationId xmlns:a16="http://schemas.microsoft.com/office/drawing/2014/main" id="{BC0B7684-2F6A-4722-909D-852471D976FE}"/>
                    </a:ext>
                  </a:extLst>
                </p:cNvPr>
                <p:cNvSpPr txBox="1"/>
                <p:nvPr/>
              </p:nvSpPr>
              <p:spPr>
                <a:xfrm>
                  <a:off x="3507356" y="2373059"/>
                  <a:ext cx="785701" cy="132343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4</a:t>
                  </a:r>
                </a:p>
              </p:txBody>
            </p:sp>
          </p:grp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AF25D0-57AC-4ABC-AA87-705D9C8E5C49}"/>
                </a:ext>
              </a:extLst>
            </p:cNvPr>
            <p:cNvGrpSpPr/>
            <p:nvPr/>
          </p:nvGrpSpPr>
          <p:grpSpPr>
            <a:xfrm>
              <a:off x="9543552" y="2115510"/>
              <a:ext cx="2131361" cy="2654528"/>
              <a:chOff x="2914648" y="2051036"/>
              <a:chExt cx="2131361" cy="2654528"/>
            </a:xfrm>
          </p:grpSpPr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490D244C-C74F-48CA-8CD8-300153C369C9}"/>
                  </a:ext>
                </a:extLst>
              </p:cNvPr>
              <p:cNvSpPr txBox="1"/>
              <p:nvPr/>
            </p:nvSpPr>
            <p:spPr>
              <a:xfrm>
                <a:off x="2914648" y="4367010"/>
                <a:ext cx="213136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/>
                  </a:rPr>
                  <a:t>Recommendation</a:t>
                </a:r>
              </a:p>
            </p:txBody>
          </p: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6E26DB95-4DD2-4F41-B8A9-385F33616254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32" name="Flowchart: Connector 31">
                  <a:extLst>
                    <a:ext uri="{FF2B5EF4-FFF2-40B4-BE49-F238E27FC236}">
                      <a16:creationId xmlns:a16="http://schemas.microsoft.com/office/drawing/2014/main" id="{4C2F6C00-A0C5-49BF-8488-57B15D35F656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ED7D3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33" name="Group 32">
                  <a:extLst>
                    <a:ext uri="{FF2B5EF4-FFF2-40B4-BE49-F238E27FC236}">
                      <a16:creationId xmlns:a16="http://schemas.microsoft.com/office/drawing/2014/main" id="{79D183E5-E92F-40F3-A0A2-9D388949B902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36" name="Arc 35">
                    <a:extLst>
                      <a:ext uri="{FF2B5EF4-FFF2-40B4-BE49-F238E27FC236}">
                        <a16:creationId xmlns:a16="http://schemas.microsoft.com/office/drawing/2014/main" id="{86B53493-4D5D-4A43-93D9-13E9D8841276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37" name="Straight Arrow Connector 36">
                    <a:extLst>
                      <a:ext uri="{FF2B5EF4-FFF2-40B4-BE49-F238E27FC236}">
                        <a16:creationId xmlns:a16="http://schemas.microsoft.com/office/drawing/2014/main" id="{A8EE492F-F236-4653-AAB5-221B2EE8CFA2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AAB0622E-74FE-4CE6-AD10-50101DFE71D7}"/>
                    </a:ext>
                  </a:extLst>
                </p:cNvPr>
                <p:cNvCxnSpPr>
                  <a:cxnSpLocks/>
                  <a:stCxn id="36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2A9CAB57-C196-4C1E-90B3-6F6994972F4B}"/>
                    </a:ext>
                  </a:extLst>
                </p:cNvPr>
                <p:cNvSpPr txBox="1"/>
                <p:nvPr/>
              </p:nvSpPr>
              <p:spPr>
                <a:xfrm>
                  <a:off x="3511245" y="2373059"/>
                  <a:ext cx="777922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5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9083946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AAFC420C-3A5D-4789-A697-DC3BBD29CEE3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98781B0-9064-46C2-8497-AAAE84DCA1CC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B495259-37AB-4B6D-BD31-B118894F75D0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>
                <a:solidFill>
                  <a:schemeClr val="bg2">
                    <a:lumMod val="25000"/>
                  </a:schemeClr>
                </a:solidFill>
              </a:rPr>
              <a:t>Final Recommendatio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ADB159D-E7AF-3C44-94CE-5311D8EEE72F}"/>
              </a:ext>
            </a:extLst>
          </p:cNvPr>
          <p:cNvSpPr txBox="1">
            <a:spLocks/>
          </p:cNvSpPr>
          <p:nvPr/>
        </p:nvSpPr>
        <p:spPr>
          <a:xfrm>
            <a:off x="1859134" y="1583146"/>
            <a:ext cx="4888370" cy="73152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>
                <a:solidFill>
                  <a:schemeClr val="bg1"/>
                </a:solidFill>
                <a:latin typeface="+mj-lt"/>
              </a:rPr>
              <a:t>	Book genre classification for enhanced user 	experience.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EC14F36-D70D-004D-AFAB-0F0E5695DD3C}"/>
              </a:ext>
            </a:extLst>
          </p:cNvPr>
          <p:cNvSpPr txBox="1">
            <a:spLocks/>
          </p:cNvSpPr>
          <p:nvPr/>
        </p:nvSpPr>
        <p:spPr>
          <a:xfrm>
            <a:off x="1859134" y="2465049"/>
            <a:ext cx="4888370" cy="731520"/>
          </a:xfrm>
          <a:prstGeom prst="rect">
            <a:avLst/>
          </a:prstGeom>
          <a:solidFill>
            <a:srgbClr val="A6A6A6"/>
          </a:solidFill>
          <a:ln w="19050">
            <a:noFill/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>
                <a:latin typeface="+mj-lt"/>
              </a:rPr>
              <a:t>	</a:t>
            </a:r>
            <a:r>
              <a:rPr lang="en-US" sz="1600">
                <a:solidFill>
                  <a:schemeClr val="bg1"/>
                </a:solidFill>
                <a:latin typeface="+mj-lt"/>
              </a:rPr>
              <a:t> Screen image and suggest title resulting in 	simplification of ad posting and enhanced data 	quality.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50BE547-9D80-B742-B8B4-8628CB5C2D48}"/>
              </a:ext>
            </a:extLst>
          </p:cNvPr>
          <p:cNvSpPr txBox="1">
            <a:spLocks/>
          </p:cNvSpPr>
          <p:nvPr/>
        </p:nvSpPr>
        <p:spPr>
          <a:xfrm>
            <a:off x="1868370" y="3346947"/>
            <a:ext cx="4888370" cy="73152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>
                <a:solidFill>
                  <a:schemeClr val="bg1"/>
                </a:solidFill>
                <a:latin typeface="+mj-lt"/>
              </a:rPr>
              <a:t>	The same concept can be implemented to other 	sections like arts &amp; crafts, electronics etc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71F8E8-EA98-3343-B864-6764D01F9302}"/>
              </a:ext>
            </a:extLst>
          </p:cNvPr>
          <p:cNvSpPr/>
          <p:nvPr/>
        </p:nvSpPr>
        <p:spPr>
          <a:xfrm>
            <a:off x="1757680" y="1390982"/>
            <a:ext cx="5120640" cy="2834640"/>
          </a:xfrm>
          <a:prstGeom prst="rect">
            <a:avLst/>
          </a:prstGeom>
          <a:noFill/>
          <a:ln w="38100" cap="flat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Graphic 12" descr="Hierarchy">
            <a:extLst>
              <a:ext uri="{FF2B5EF4-FFF2-40B4-BE49-F238E27FC236}">
                <a16:creationId xmlns:a16="http://schemas.microsoft.com/office/drawing/2014/main" id="{35C19C04-2B94-FC42-B7E4-E5F948EDC1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77162" y="1714292"/>
            <a:ext cx="526149" cy="469232"/>
          </a:xfrm>
          <a:prstGeom prst="rect">
            <a:avLst/>
          </a:prstGeom>
        </p:spPr>
      </p:pic>
      <p:pic>
        <p:nvPicPr>
          <p:cNvPr id="14" name="Graphic 13" descr="Boardroom">
            <a:extLst>
              <a:ext uri="{FF2B5EF4-FFF2-40B4-BE49-F238E27FC236}">
                <a16:creationId xmlns:a16="http://schemas.microsoft.com/office/drawing/2014/main" id="{98A81AEF-F83F-C44A-898E-C8C82EAADA8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77162" y="3506801"/>
            <a:ext cx="526149" cy="469232"/>
          </a:xfrm>
          <a:prstGeom prst="rect">
            <a:avLst/>
          </a:prstGeom>
        </p:spPr>
      </p:pic>
      <p:pic>
        <p:nvPicPr>
          <p:cNvPr id="15" name="Graphic 14" descr="Cloud Computing">
            <a:extLst>
              <a:ext uri="{FF2B5EF4-FFF2-40B4-BE49-F238E27FC236}">
                <a16:creationId xmlns:a16="http://schemas.microsoft.com/office/drawing/2014/main" id="{660EB91D-7F44-734F-8EEB-3A8BA85D36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901521" y="2609435"/>
            <a:ext cx="526149" cy="469232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D446513B-DD4A-6F45-B1B1-D3E4A4E374A8}"/>
              </a:ext>
            </a:extLst>
          </p:cNvPr>
          <p:cNvSpPr txBox="1">
            <a:spLocks/>
          </p:cNvSpPr>
          <p:nvPr/>
        </p:nvSpPr>
        <p:spPr>
          <a:xfrm>
            <a:off x="1757681" y="4781990"/>
            <a:ext cx="5120640" cy="1059146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>
                <a:solidFill>
                  <a:schemeClr val="bg1"/>
                </a:solidFill>
                <a:latin typeface="+mj-lt"/>
              </a:rPr>
              <a:t>	Keeping Craigslist Simplicity Intact</a:t>
            </a:r>
          </a:p>
        </p:txBody>
      </p:sp>
      <p:sp>
        <p:nvSpPr>
          <p:cNvPr id="17" name="Trapezoid 16">
            <a:extLst>
              <a:ext uri="{FF2B5EF4-FFF2-40B4-BE49-F238E27FC236}">
                <a16:creationId xmlns:a16="http://schemas.microsoft.com/office/drawing/2014/main" id="{BE2D84F9-D763-2B47-9523-A49BB1637A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 flipV="1">
            <a:off x="7017829" y="4323725"/>
            <a:ext cx="1393701" cy="1975674"/>
          </a:xfrm>
          <a:prstGeom prst="trapezoid">
            <a:avLst>
              <a:gd name="adj" fmla="val 1656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40" tIns="45720" rIns="91440" bIns="45720" rtlCol="0" anchor="ctr"/>
          <a:lstStyle/>
          <a:p>
            <a:pPr algn="ctr"/>
            <a:r>
              <a:rPr lang="en-US" sz="1500" b="1">
                <a:solidFill>
                  <a:schemeClr val="tx1"/>
                </a:solidFill>
              </a:rPr>
              <a:t>Outcome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AF90587-9280-C34C-8308-CFDBEFC4A437}"/>
              </a:ext>
            </a:extLst>
          </p:cNvPr>
          <p:cNvSpPr/>
          <p:nvPr/>
        </p:nvSpPr>
        <p:spPr>
          <a:xfrm>
            <a:off x="1757680" y="4781990"/>
            <a:ext cx="5120640" cy="1059147"/>
          </a:xfrm>
          <a:prstGeom prst="rect">
            <a:avLst/>
          </a:prstGeom>
          <a:noFill/>
          <a:ln w="38100" cap="flat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rapezoid 18">
            <a:extLst>
              <a:ext uri="{FF2B5EF4-FFF2-40B4-BE49-F238E27FC236}">
                <a16:creationId xmlns:a16="http://schemas.microsoft.com/office/drawing/2014/main" id="{1AF82A0C-01F2-B148-B6F6-4D908EA59C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 flipV="1">
            <a:off x="6925221" y="4456691"/>
            <a:ext cx="1616225" cy="1692442"/>
          </a:xfrm>
          <a:prstGeom prst="trapezoid">
            <a:avLst>
              <a:gd name="adj" fmla="val 17447"/>
            </a:avLst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endParaRPr lang="en-US" sz="1463" b="1">
              <a:solidFill>
                <a:schemeClr val="accent1"/>
              </a:solidFill>
            </a:endParaRP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E5A3A7B1-7AB7-314D-BCDA-B60F51D16F97}"/>
              </a:ext>
            </a:extLst>
          </p:cNvPr>
          <p:cNvSpPr txBox="1">
            <a:spLocks/>
          </p:cNvSpPr>
          <p:nvPr/>
        </p:nvSpPr>
        <p:spPr>
          <a:xfrm>
            <a:off x="8668226" y="4494799"/>
            <a:ext cx="2435928" cy="1616226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>
                <a:solidFill>
                  <a:schemeClr val="bg1"/>
                </a:solidFill>
                <a:latin typeface="Calibri" panose="020F0502020204030204"/>
              </a:rPr>
              <a:t>Improved buyers and advertisers experience </a:t>
            </a:r>
          </a:p>
        </p:txBody>
      </p:sp>
      <p:pic>
        <p:nvPicPr>
          <p:cNvPr id="21" name="Graphic 20" descr="Head with gears">
            <a:extLst>
              <a:ext uri="{FF2B5EF4-FFF2-40B4-BE49-F238E27FC236}">
                <a16:creationId xmlns:a16="http://schemas.microsoft.com/office/drawing/2014/main" id="{1E59D194-2A38-4540-A970-CDBDD7908BA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748888" y="5005086"/>
            <a:ext cx="567771" cy="567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0433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AAFC420C-3A5D-4789-A697-DC3BBD29CEE3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98781B0-9064-46C2-8497-AAAE84DCA1CC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B495259-37AB-4B6D-BD31-B118894F75D0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>
                <a:solidFill>
                  <a:schemeClr val="bg2">
                    <a:lumMod val="25000"/>
                  </a:schemeClr>
                </a:solidFill>
              </a:rPr>
              <a:t>Questions?</a:t>
            </a:r>
          </a:p>
        </p:txBody>
      </p:sp>
      <p:pic>
        <p:nvPicPr>
          <p:cNvPr id="6" name="Picture 5" descr="Wood human figure">
            <a:extLst>
              <a:ext uri="{FF2B5EF4-FFF2-40B4-BE49-F238E27FC236}">
                <a16:creationId xmlns:a16="http://schemas.microsoft.com/office/drawing/2014/main" id="{4E10FA00-3D7B-455D-9C3B-24EF804172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7680" y="1034374"/>
            <a:ext cx="8778753" cy="585250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BAA5630-16D9-48EA-A8EE-892CB510AF76}"/>
              </a:ext>
            </a:extLst>
          </p:cNvPr>
          <p:cNvSpPr/>
          <p:nvPr/>
        </p:nvSpPr>
        <p:spPr>
          <a:xfrm>
            <a:off x="0" y="1005498"/>
            <a:ext cx="1757680" cy="588137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2429C1F-609C-4A17-983E-E5A98647C36F}"/>
              </a:ext>
            </a:extLst>
          </p:cNvPr>
          <p:cNvSpPr/>
          <p:nvPr/>
        </p:nvSpPr>
        <p:spPr>
          <a:xfrm>
            <a:off x="10434321" y="1034374"/>
            <a:ext cx="1757679" cy="585250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683436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468" y="265238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468" y="265238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152400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/>
            <a:endParaRPr lang="en-US" sz="20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9B73752-8AAF-4CC7-B0CA-55B9964D24FC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418C1EF-0FAF-48A1-8FA0-FA32E2879E44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362879F-E4C7-4367-8514-A7DEFF892DE7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>
                <a:solidFill>
                  <a:schemeClr val="bg2">
                    <a:lumMod val="25000"/>
                  </a:schemeClr>
                </a:solidFill>
              </a:rPr>
              <a:t>Agenda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FF0B019B-A393-4CE8-9981-57959C3DF684}"/>
              </a:ext>
            </a:extLst>
          </p:cNvPr>
          <p:cNvGrpSpPr/>
          <p:nvPr/>
        </p:nvGrpSpPr>
        <p:grpSpPr>
          <a:xfrm>
            <a:off x="622563" y="2354049"/>
            <a:ext cx="10946874" cy="2910909"/>
            <a:chOff x="728039" y="2115510"/>
            <a:chExt cx="10946874" cy="2910909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AD830C32-B0F7-4F27-83E7-A90303EECA39}"/>
                </a:ext>
              </a:extLst>
            </p:cNvPr>
            <p:cNvGrpSpPr/>
            <p:nvPr/>
          </p:nvGrpSpPr>
          <p:grpSpPr>
            <a:xfrm>
              <a:off x="728039" y="2115510"/>
              <a:ext cx="2131361" cy="2910909"/>
              <a:chOff x="2914648" y="2051036"/>
              <a:chExt cx="2131361" cy="2910909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74BB8ED7-9AAF-4922-8121-259ADE0B73C2}"/>
                  </a:ext>
                </a:extLst>
              </p:cNvPr>
              <p:cNvSpPr txBox="1"/>
              <p:nvPr/>
            </p:nvSpPr>
            <p:spPr>
              <a:xfrm>
                <a:off x="2914648" y="4377170"/>
                <a:ext cx="2131361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Calibri" panose="020F0502020204030204" pitchFamily="34" charset="0"/>
                  </a:rPr>
                  <a:t>Problem Statement</a:t>
                </a:r>
              </a:p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Calibri" panose="020F0502020204030204" pitchFamily="34" charset="0"/>
                  </a:rPr>
                  <a:t> and Objectives</a:t>
                </a:r>
              </a:p>
            </p:txBody>
          </p: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0082D9BF-712B-4FAE-85DA-57F73CD4BA76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110" name="Flowchart: Connector 109">
                  <a:extLst>
                    <a:ext uri="{FF2B5EF4-FFF2-40B4-BE49-F238E27FC236}">
                      <a16:creationId xmlns:a16="http://schemas.microsoft.com/office/drawing/2014/main" id="{76BAC342-A2EA-44E7-89C0-CF8F32EE6DE7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ED7D3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111" name="Group 110">
                  <a:extLst>
                    <a:ext uri="{FF2B5EF4-FFF2-40B4-BE49-F238E27FC236}">
                      <a16:creationId xmlns:a16="http://schemas.microsoft.com/office/drawing/2014/main" id="{43686A55-547D-489E-A25B-D1A2242CCB7E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114" name="Arc 113">
                    <a:extLst>
                      <a:ext uri="{FF2B5EF4-FFF2-40B4-BE49-F238E27FC236}">
                        <a16:creationId xmlns:a16="http://schemas.microsoft.com/office/drawing/2014/main" id="{BF453537-DDA0-453B-9548-30A3F4D24A71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115" name="Straight Arrow Connector 114">
                    <a:extLst>
                      <a:ext uri="{FF2B5EF4-FFF2-40B4-BE49-F238E27FC236}">
                        <a16:creationId xmlns:a16="http://schemas.microsoft.com/office/drawing/2014/main" id="{DD8FF186-BA7D-45BB-A069-EA7240F3CA9B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BA16C856-1505-4110-9D68-A90E3783336E}"/>
                    </a:ext>
                  </a:extLst>
                </p:cNvPr>
                <p:cNvCxnSpPr>
                  <a:cxnSpLocks/>
                  <a:stCxn id="114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3" name="TextBox 112">
                  <a:extLst>
                    <a:ext uri="{FF2B5EF4-FFF2-40B4-BE49-F238E27FC236}">
                      <a16:creationId xmlns:a16="http://schemas.microsoft.com/office/drawing/2014/main" id="{96402430-C45C-42B0-A37F-4EED9E145921}"/>
                    </a:ext>
                  </a:extLst>
                </p:cNvPr>
                <p:cNvSpPr txBox="1"/>
                <p:nvPr/>
              </p:nvSpPr>
              <p:spPr>
                <a:xfrm>
                  <a:off x="3511245" y="2373059"/>
                  <a:ext cx="777922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1</a:t>
                  </a:r>
                </a:p>
              </p:txBody>
            </p:sp>
          </p:grp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85945068-56C1-4E96-A97D-6366929BAA09}"/>
                </a:ext>
              </a:extLst>
            </p:cNvPr>
            <p:cNvGrpSpPr/>
            <p:nvPr/>
          </p:nvGrpSpPr>
          <p:grpSpPr>
            <a:xfrm>
              <a:off x="2931917" y="2115510"/>
              <a:ext cx="2131361" cy="2654528"/>
              <a:chOff x="2914648" y="2051036"/>
              <a:chExt cx="2131361" cy="2654528"/>
            </a:xfrm>
          </p:grpSpPr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79536B36-7462-4249-8AE9-5CE3E674EA8B}"/>
                  </a:ext>
                </a:extLst>
              </p:cNvPr>
              <p:cNvSpPr txBox="1"/>
              <p:nvPr/>
            </p:nvSpPr>
            <p:spPr>
              <a:xfrm>
                <a:off x="2914648" y="4367010"/>
                <a:ext cx="213136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/>
                  </a:rPr>
                  <a:t>Solution</a:t>
                </a:r>
              </a:p>
            </p:txBody>
          </p:sp>
          <p:grpSp>
            <p:nvGrpSpPr>
              <p:cNvPr id="101" name="Group 100">
                <a:extLst>
                  <a:ext uri="{FF2B5EF4-FFF2-40B4-BE49-F238E27FC236}">
                    <a16:creationId xmlns:a16="http://schemas.microsoft.com/office/drawing/2014/main" id="{DA263C69-CCC6-40FF-84A6-FEAA23E334A8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102" name="Flowchart: Connector 101">
                  <a:extLst>
                    <a:ext uri="{FF2B5EF4-FFF2-40B4-BE49-F238E27FC236}">
                      <a16:creationId xmlns:a16="http://schemas.microsoft.com/office/drawing/2014/main" id="{F2DA1674-0DE3-47CB-9B98-14C1BD5DA72C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45556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103" name="Group 102">
                  <a:extLst>
                    <a:ext uri="{FF2B5EF4-FFF2-40B4-BE49-F238E27FC236}">
                      <a16:creationId xmlns:a16="http://schemas.microsoft.com/office/drawing/2014/main" id="{55071CDD-7C8B-41F4-A573-0D4AFE2982C0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106" name="Arc 105">
                    <a:extLst>
                      <a:ext uri="{FF2B5EF4-FFF2-40B4-BE49-F238E27FC236}">
                        <a16:creationId xmlns:a16="http://schemas.microsoft.com/office/drawing/2014/main" id="{A4E5511A-87EE-4039-A591-67DAA14C7DB0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107" name="Straight Arrow Connector 106">
                    <a:extLst>
                      <a:ext uri="{FF2B5EF4-FFF2-40B4-BE49-F238E27FC236}">
                        <a16:creationId xmlns:a16="http://schemas.microsoft.com/office/drawing/2014/main" id="{24DB878A-0A5E-41FC-A823-E04BCC3E7136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04" name="Straight Connector 103">
                  <a:extLst>
                    <a:ext uri="{FF2B5EF4-FFF2-40B4-BE49-F238E27FC236}">
                      <a16:creationId xmlns:a16="http://schemas.microsoft.com/office/drawing/2014/main" id="{B36F818D-28BC-4C3D-8CFD-AA901C61DF9F}"/>
                    </a:ext>
                  </a:extLst>
                </p:cNvPr>
                <p:cNvCxnSpPr>
                  <a:cxnSpLocks/>
                  <a:stCxn id="106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5" name="TextBox 104">
                  <a:extLst>
                    <a:ext uri="{FF2B5EF4-FFF2-40B4-BE49-F238E27FC236}">
                      <a16:creationId xmlns:a16="http://schemas.microsoft.com/office/drawing/2014/main" id="{7F0DCE25-5627-4B7A-9EE2-DC162539A3A7}"/>
                    </a:ext>
                  </a:extLst>
                </p:cNvPr>
                <p:cNvSpPr txBox="1"/>
                <p:nvPr/>
              </p:nvSpPr>
              <p:spPr>
                <a:xfrm>
                  <a:off x="3507356" y="2373059"/>
                  <a:ext cx="785701" cy="132343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2</a:t>
                  </a:r>
                </a:p>
              </p:txBody>
            </p:sp>
          </p:grp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E0F27212-3B53-44FD-A27C-0EF111EFFB96}"/>
                </a:ext>
              </a:extLst>
            </p:cNvPr>
            <p:cNvGrpSpPr/>
            <p:nvPr/>
          </p:nvGrpSpPr>
          <p:grpSpPr>
            <a:xfrm>
              <a:off x="5135795" y="2115510"/>
              <a:ext cx="2131361" cy="2654528"/>
              <a:chOff x="2914648" y="2051036"/>
              <a:chExt cx="2131361" cy="2654528"/>
            </a:xfrm>
          </p:grpSpPr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ABD62496-B196-4D66-A153-B970D14790D8}"/>
                  </a:ext>
                </a:extLst>
              </p:cNvPr>
              <p:cNvSpPr txBox="1"/>
              <p:nvPr/>
            </p:nvSpPr>
            <p:spPr>
              <a:xfrm>
                <a:off x="2914648" y="4367010"/>
                <a:ext cx="213136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/>
                  </a:rPr>
                  <a:t>Challenges</a:t>
                </a:r>
                <a:endParaRPr lang="en-US" sz="1800" b="1">
                  <a:solidFill>
                    <a:srgbClr val="6B6B6B"/>
                  </a:solidFill>
                  <a:latin typeface="Roboto Condensed"/>
                </a:endParaRPr>
              </a:p>
            </p:txBody>
          </p:sp>
          <p:grpSp>
            <p:nvGrpSpPr>
              <p:cNvPr id="93" name="Group 92">
                <a:extLst>
                  <a:ext uri="{FF2B5EF4-FFF2-40B4-BE49-F238E27FC236}">
                    <a16:creationId xmlns:a16="http://schemas.microsoft.com/office/drawing/2014/main" id="{7F530AE8-CE1D-4CA0-8058-C2A568EF027C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94" name="Flowchart: Connector 93">
                  <a:extLst>
                    <a:ext uri="{FF2B5EF4-FFF2-40B4-BE49-F238E27FC236}">
                      <a16:creationId xmlns:a16="http://schemas.microsoft.com/office/drawing/2014/main" id="{43613D5E-3EE9-40DF-A7AB-58528DA88A3B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45556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95" name="Group 94">
                  <a:extLst>
                    <a:ext uri="{FF2B5EF4-FFF2-40B4-BE49-F238E27FC236}">
                      <a16:creationId xmlns:a16="http://schemas.microsoft.com/office/drawing/2014/main" id="{3841BD41-8265-4156-A81A-EB5C46A801C4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98" name="Arc 97">
                    <a:extLst>
                      <a:ext uri="{FF2B5EF4-FFF2-40B4-BE49-F238E27FC236}">
                        <a16:creationId xmlns:a16="http://schemas.microsoft.com/office/drawing/2014/main" id="{4CAD78C7-054B-4E50-9D31-8ED29EF7A0E2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99" name="Straight Arrow Connector 98">
                    <a:extLst>
                      <a:ext uri="{FF2B5EF4-FFF2-40B4-BE49-F238E27FC236}">
                        <a16:creationId xmlns:a16="http://schemas.microsoft.com/office/drawing/2014/main" id="{0C522C7C-C735-4102-A27C-50BF1A9D70A1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96" name="Straight Connector 95">
                  <a:extLst>
                    <a:ext uri="{FF2B5EF4-FFF2-40B4-BE49-F238E27FC236}">
                      <a16:creationId xmlns:a16="http://schemas.microsoft.com/office/drawing/2014/main" id="{4150276F-BA01-48A2-B96D-C1242ACBD022}"/>
                    </a:ext>
                  </a:extLst>
                </p:cNvPr>
                <p:cNvCxnSpPr>
                  <a:cxnSpLocks/>
                  <a:stCxn id="98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7" name="TextBox 96">
                  <a:extLst>
                    <a:ext uri="{FF2B5EF4-FFF2-40B4-BE49-F238E27FC236}">
                      <a16:creationId xmlns:a16="http://schemas.microsoft.com/office/drawing/2014/main" id="{6392E1AE-CBEA-4930-B705-DA95029DE652}"/>
                    </a:ext>
                  </a:extLst>
                </p:cNvPr>
                <p:cNvSpPr txBox="1"/>
                <p:nvPr/>
              </p:nvSpPr>
              <p:spPr>
                <a:xfrm>
                  <a:off x="3511245" y="2373059"/>
                  <a:ext cx="777922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3</a:t>
                  </a:r>
                </a:p>
              </p:txBody>
            </p:sp>
          </p:grp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BE866BE2-19B8-4626-8759-41F751525349}"/>
                </a:ext>
              </a:extLst>
            </p:cNvPr>
            <p:cNvGrpSpPr/>
            <p:nvPr/>
          </p:nvGrpSpPr>
          <p:grpSpPr>
            <a:xfrm>
              <a:off x="7339673" y="2115510"/>
              <a:ext cx="2131361" cy="2654528"/>
              <a:chOff x="2914648" y="2051036"/>
              <a:chExt cx="2131361" cy="2654528"/>
            </a:xfrm>
          </p:grpSpPr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EDE7D18A-D1FD-47C3-B5F4-F3D783CBD7A5}"/>
                  </a:ext>
                </a:extLst>
              </p:cNvPr>
              <p:cNvSpPr txBox="1"/>
              <p:nvPr/>
            </p:nvSpPr>
            <p:spPr>
              <a:xfrm>
                <a:off x="2914648" y="4367010"/>
                <a:ext cx="213136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>
                    <a:solidFill>
                      <a:srgbClr val="6B6B6B"/>
                    </a:solidFill>
                    <a:latin typeface="Roboto Condensed"/>
                  </a:rPr>
                  <a:t>Way forward</a:t>
                </a:r>
                <a:endParaRPr lang="en-US" sz="1800" b="1">
                  <a:solidFill>
                    <a:srgbClr val="6B6B6B"/>
                  </a:solidFill>
                  <a:latin typeface="Roboto Condensed"/>
                </a:endParaRP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DB6F7066-785D-49C3-9990-AC257CDF5C0C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86" name="Flowchart: Connector 85">
                  <a:extLst>
                    <a:ext uri="{FF2B5EF4-FFF2-40B4-BE49-F238E27FC236}">
                      <a16:creationId xmlns:a16="http://schemas.microsoft.com/office/drawing/2014/main" id="{ED23B468-8B41-4070-8599-173A8FF53852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45556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87" name="Group 86">
                  <a:extLst>
                    <a:ext uri="{FF2B5EF4-FFF2-40B4-BE49-F238E27FC236}">
                      <a16:creationId xmlns:a16="http://schemas.microsoft.com/office/drawing/2014/main" id="{B434878B-79FE-43A7-9800-7A9C875407DE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90" name="Arc 89">
                    <a:extLst>
                      <a:ext uri="{FF2B5EF4-FFF2-40B4-BE49-F238E27FC236}">
                        <a16:creationId xmlns:a16="http://schemas.microsoft.com/office/drawing/2014/main" id="{13CE873B-08B9-4323-9ED4-BABDE5C8BE22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91" name="Straight Arrow Connector 90">
                    <a:extLst>
                      <a:ext uri="{FF2B5EF4-FFF2-40B4-BE49-F238E27FC236}">
                        <a16:creationId xmlns:a16="http://schemas.microsoft.com/office/drawing/2014/main" id="{FCF00050-4583-4E98-9F70-8F743189602C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88" name="Straight Connector 87">
                  <a:extLst>
                    <a:ext uri="{FF2B5EF4-FFF2-40B4-BE49-F238E27FC236}">
                      <a16:creationId xmlns:a16="http://schemas.microsoft.com/office/drawing/2014/main" id="{82C66DA0-9D17-4D88-9820-17199578E1F8}"/>
                    </a:ext>
                  </a:extLst>
                </p:cNvPr>
                <p:cNvCxnSpPr>
                  <a:cxnSpLocks/>
                  <a:stCxn id="90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241D3E67-624E-47AA-9A75-D8D74C4D3492}"/>
                    </a:ext>
                  </a:extLst>
                </p:cNvPr>
                <p:cNvSpPr txBox="1"/>
                <p:nvPr/>
              </p:nvSpPr>
              <p:spPr>
                <a:xfrm>
                  <a:off x="3507356" y="2373059"/>
                  <a:ext cx="785701" cy="132343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4</a:t>
                  </a:r>
                </a:p>
              </p:txBody>
            </p:sp>
          </p:grp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CD5A4316-C8F5-4707-A332-31D67ECCBC4C}"/>
                </a:ext>
              </a:extLst>
            </p:cNvPr>
            <p:cNvGrpSpPr/>
            <p:nvPr/>
          </p:nvGrpSpPr>
          <p:grpSpPr>
            <a:xfrm>
              <a:off x="9543552" y="2115510"/>
              <a:ext cx="2131361" cy="2654528"/>
              <a:chOff x="2914648" y="2051036"/>
              <a:chExt cx="2131361" cy="2654528"/>
            </a:xfrm>
          </p:grpSpPr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8221D098-25F3-4B10-8F45-0EDB7170E137}"/>
                  </a:ext>
                </a:extLst>
              </p:cNvPr>
              <p:cNvSpPr txBox="1"/>
              <p:nvPr/>
            </p:nvSpPr>
            <p:spPr>
              <a:xfrm>
                <a:off x="2914648" y="4367010"/>
                <a:ext cx="213136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/>
                  </a:rPr>
                  <a:t>Recommendation</a:t>
                </a:r>
              </a:p>
            </p:txBody>
          </p: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0D5F81B0-6A6E-494D-B88C-0826742D863C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78" name="Flowchart: Connector 77">
                  <a:extLst>
                    <a:ext uri="{FF2B5EF4-FFF2-40B4-BE49-F238E27FC236}">
                      <a16:creationId xmlns:a16="http://schemas.microsoft.com/office/drawing/2014/main" id="{3A1BEB3A-D680-4C1E-8BDC-F0B102F1D672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45556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79" name="Group 78">
                  <a:extLst>
                    <a:ext uri="{FF2B5EF4-FFF2-40B4-BE49-F238E27FC236}">
                      <a16:creationId xmlns:a16="http://schemas.microsoft.com/office/drawing/2014/main" id="{F56B0274-7C0E-42B4-8E95-8B82EB334D0B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82" name="Arc 81">
                    <a:extLst>
                      <a:ext uri="{FF2B5EF4-FFF2-40B4-BE49-F238E27FC236}">
                        <a16:creationId xmlns:a16="http://schemas.microsoft.com/office/drawing/2014/main" id="{858E7449-8FF4-43DD-8BA7-557545AA97F8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83" name="Straight Arrow Connector 82">
                    <a:extLst>
                      <a:ext uri="{FF2B5EF4-FFF2-40B4-BE49-F238E27FC236}">
                        <a16:creationId xmlns:a16="http://schemas.microsoft.com/office/drawing/2014/main" id="{51B40A9F-D078-4EBC-996E-2865F5C39053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80" name="Straight Connector 79">
                  <a:extLst>
                    <a:ext uri="{FF2B5EF4-FFF2-40B4-BE49-F238E27FC236}">
                      <a16:creationId xmlns:a16="http://schemas.microsoft.com/office/drawing/2014/main" id="{135D8567-D5A1-4DAD-91BF-FF8DD7044504}"/>
                    </a:ext>
                  </a:extLst>
                </p:cNvPr>
                <p:cNvCxnSpPr>
                  <a:cxnSpLocks/>
                  <a:stCxn id="82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1" name="TextBox 80">
                  <a:extLst>
                    <a:ext uri="{FF2B5EF4-FFF2-40B4-BE49-F238E27FC236}">
                      <a16:creationId xmlns:a16="http://schemas.microsoft.com/office/drawing/2014/main" id="{48CB66B4-4F5A-44AC-9816-4C3E1FD2FCE5}"/>
                    </a:ext>
                  </a:extLst>
                </p:cNvPr>
                <p:cNvSpPr txBox="1"/>
                <p:nvPr/>
              </p:nvSpPr>
              <p:spPr>
                <a:xfrm>
                  <a:off x="3511245" y="2373059"/>
                  <a:ext cx="777922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5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4051976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D301822-431F-B24F-86CA-092EEE276F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D301822-431F-B24F-86CA-092EEE276F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9503CF8-E58B-4A47-A3D0-DD467A859B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7210446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C61F604-EE8E-4E6D-84E4-58E5B56C7B54}"/>
              </a:ext>
            </a:extLst>
          </p:cNvPr>
          <p:cNvSpPr/>
          <p:nvPr/>
        </p:nvSpPr>
        <p:spPr>
          <a:xfrm>
            <a:off x="0" y="293170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3E4F1DC-CA77-4B2E-A2AC-80A845851DA4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C371CC-3336-41A3-BB34-6E2A0C172BE3}"/>
              </a:ext>
            </a:extLst>
          </p:cNvPr>
          <p:cNvSpPr/>
          <p:nvPr/>
        </p:nvSpPr>
        <p:spPr>
          <a:xfrm>
            <a:off x="1757681" y="23221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r>
              <a:rPr lang="en-US" sz="2800" b="1" err="1">
                <a:solidFill>
                  <a:schemeClr val="bg2">
                    <a:lumMod val="25000"/>
                  </a:schemeClr>
                </a:solidFill>
                <a:latin typeface="Calibri" panose="020F0502020204030204"/>
              </a:rPr>
              <a:t>PyTesseract</a:t>
            </a:r>
            <a:endParaRPr lang="en-US" err="1">
              <a:solidFill>
                <a:schemeClr val="bg2">
                  <a:lumMod val="25000"/>
                </a:schemeClr>
              </a:solidFill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FECA68-23D4-4B42-9848-3115D44CB3C9}"/>
              </a:ext>
            </a:extLst>
          </p:cNvPr>
          <p:cNvSpPr txBox="1"/>
          <p:nvPr/>
        </p:nvSpPr>
        <p:spPr>
          <a:xfrm>
            <a:off x="883921" y="1925449"/>
            <a:ext cx="6004559" cy="37856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 i="1"/>
              <a:t>Py-Tesseract is a wrapper for </a:t>
            </a:r>
            <a:r>
              <a:rPr lang="en-IN" sz="2400" b="1" i="1">
                <a:solidFill>
                  <a:srgbClr val="ED7D31"/>
                </a:solidFill>
              </a:rPr>
              <a:t>Google's Tesseract-OCR Engine. </a:t>
            </a:r>
            <a:br>
              <a:rPr lang="en-IN" sz="2400" b="1" i="1">
                <a:solidFill>
                  <a:srgbClr val="ED7D31"/>
                </a:solidFill>
              </a:rPr>
            </a:br>
            <a:endParaRPr lang="en-IN" sz="2400" b="1" i="1">
              <a:solidFill>
                <a:srgbClr val="ED7D31"/>
              </a:solidFill>
              <a:cs typeface="Calibri"/>
            </a:endParaRPr>
          </a:p>
          <a:p>
            <a:br>
              <a:rPr lang="en-IN" sz="2400" b="1" i="1"/>
            </a:br>
            <a:endParaRPr lang="en-IN" sz="2400" b="1" i="1">
              <a:solidFill>
                <a:srgbClr val="ED7D31"/>
              </a:solidFill>
              <a:cs typeface="Calibri"/>
            </a:endParaRPr>
          </a:p>
          <a:p>
            <a:endParaRPr lang="en-IN" sz="2400" b="1" i="1"/>
          </a:p>
          <a:p>
            <a:br>
              <a:rPr lang="en-IN" sz="2400" b="1" i="1"/>
            </a:br>
            <a:r>
              <a:rPr lang="en-IN" i="1"/>
              <a:t>It is a standalone invocation script to tesseract, as it can read all image types supported by the Pillow and Leptonica imaging libraries.</a:t>
            </a:r>
            <a:endParaRPr lang="en-IN">
              <a:cs typeface="Calibri"/>
            </a:endParaRPr>
          </a:p>
          <a:p>
            <a:endParaRPr lang="en-IN" i="1"/>
          </a:p>
        </p:txBody>
      </p:sp>
      <p:pic>
        <p:nvPicPr>
          <p:cNvPr id="11" name="Picture 11" descr="Diagram&#10;&#10;Description automatically generated">
            <a:extLst>
              <a:ext uri="{FF2B5EF4-FFF2-40B4-BE49-F238E27FC236}">
                <a16:creationId xmlns:a16="http://schemas.microsoft.com/office/drawing/2014/main" id="{02FE8342-C621-410C-A3F2-B763403CCF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6001" y="2411941"/>
            <a:ext cx="3615266" cy="2042583"/>
          </a:xfrm>
          <a:prstGeom prst="rect">
            <a:avLst/>
          </a:prstGeom>
        </p:spPr>
      </p:pic>
      <p:pic>
        <p:nvPicPr>
          <p:cNvPr id="12" name="Picture 12" descr="Logo&#10;&#10;Description automatically generated">
            <a:extLst>
              <a:ext uri="{FF2B5EF4-FFF2-40B4-BE49-F238E27FC236}">
                <a16:creationId xmlns:a16="http://schemas.microsoft.com/office/drawing/2014/main" id="{024FD4C8-7E54-4FF0-AFAD-8F11CA1778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65867" y="2821577"/>
            <a:ext cx="2743200" cy="1214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9857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C61F604-EE8E-4E6D-84E4-58E5B56C7B54}"/>
              </a:ext>
            </a:extLst>
          </p:cNvPr>
          <p:cNvSpPr/>
          <p:nvPr/>
        </p:nvSpPr>
        <p:spPr>
          <a:xfrm>
            <a:off x="0" y="293170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3E4F1DC-CA77-4B2E-A2AC-80A845851DA4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C371CC-3336-41A3-BB34-6E2A0C172BE3}"/>
              </a:ext>
            </a:extLst>
          </p:cNvPr>
          <p:cNvSpPr/>
          <p:nvPr/>
        </p:nvSpPr>
        <p:spPr>
          <a:xfrm>
            <a:off x="1757681" y="23221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>
              <a:defRPr/>
            </a:pPr>
            <a:r>
              <a:rPr lang="en-US" sz="2800" b="1">
                <a:solidFill>
                  <a:schemeClr val="bg2">
                    <a:lumMod val="25000"/>
                  </a:schemeClr>
                </a:solidFill>
                <a:latin typeface="Calibri" panose="020F0502020204030204"/>
              </a:rPr>
              <a:t>Tesseract - Code</a:t>
            </a:r>
            <a:endParaRPr lang="en-US" err="1">
              <a:solidFill>
                <a:schemeClr val="bg2">
                  <a:lumMod val="25000"/>
                </a:schemeClr>
              </a:solidFill>
              <a:ea typeface="+mn-ea"/>
              <a:cs typeface="+mn-cs"/>
            </a:endParaRPr>
          </a:p>
        </p:txBody>
      </p:sp>
      <p:pic>
        <p:nvPicPr>
          <p:cNvPr id="4" name="Picture 7" descr="Text&#10;&#10;Description automatically generated">
            <a:extLst>
              <a:ext uri="{FF2B5EF4-FFF2-40B4-BE49-F238E27FC236}">
                <a16:creationId xmlns:a16="http://schemas.microsoft.com/office/drawing/2014/main" id="{49501820-2793-4678-832B-B4AEE44DDE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0534" y="2252034"/>
            <a:ext cx="7222066" cy="3344531"/>
          </a:xfrm>
          <a:prstGeom prst="rect">
            <a:avLst/>
          </a:prstGeom>
        </p:spPr>
      </p:pic>
      <p:pic>
        <p:nvPicPr>
          <p:cNvPr id="8" name="Graphic 8" descr="Camera outline">
            <a:extLst>
              <a:ext uri="{FF2B5EF4-FFF2-40B4-BE49-F238E27FC236}">
                <a16:creationId xmlns:a16="http://schemas.microsoft.com/office/drawing/2014/main" id="{57482210-2896-4E52-A28C-066560EF01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73533" y="2514600"/>
            <a:ext cx="914400" cy="914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9842119-32F8-45CE-BCFD-37FE67FFFC7F}"/>
              </a:ext>
            </a:extLst>
          </p:cNvPr>
          <p:cNvSpPr txBox="1"/>
          <p:nvPr/>
        </p:nvSpPr>
        <p:spPr>
          <a:xfrm>
            <a:off x="9379641" y="2798890"/>
            <a:ext cx="2131361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1117560"/>
            <a:r>
              <a:rPr lang="en-US" sz="1600" b="1">
                <a:solidFill>
                  <a:srgbClr val="6B6B6B"/>
                </a:solidFill>
                <a:latin typeface="Roboto Condensed"/>
                <a:ea typeface="Roboto Condensed"/>
              </a:rPr>
              <a:t>Image Pre-Processing</a:t>
            </a:r>
          </a:p>
        </p:txBody>
      </p:sp>
      <p:pic>
        <p:nvPicPr>
          <p:cNvPr id="11" name="Graphic 11" descr="Arrow circle outline">
            <a:extLst>
              <a:ext uri="{FF2B5EF4-FFF2-40B4-BE49-F238E27FC236}">
                <a16:creationId xmlns:a16="http://schemas.microsoft.com/office/drawing/2014/main" id="{F8569F5B-095E-4905-82F3-36FC028C1ED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73533" y="4114800"/>
            <a:ext cx="914400" cy="9144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86635FE-91E3-4381-AAB8-16F5BE9F5C31}"/>
              </a:ext>
            </a:extLst>
          </p:cNvPr>
          <p:cNvSpPr txBox="1"/>
          <p:nvPr/>
        </p:nvSpPr>
        <p:spPr>
          <a:xfrm>
            <a:off x="9379641" y="4399090"/>
            <a:ext cx="2131361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1117560"/>
            <a:r>
              <a:rPr lang="en-US" sz="1600" b="1">
                <a:solidFill>
                  <a:srgbClr val="6B6B6B"/>
                </a:solidFill>
                <a:latin typeface="Roboto Condensed"/>
                <a:ea typeface="Roboto Condensed"/>
              </a:rPr>
              <a:t>Image-to-Text</a:t>
            </a:r>
          </a:p>
        </p:txBody>
      </p:sp>
    </p:spTree>
    <p:extLst>
      <p:ext uri="{BB962C8B-B14F-4D97-AF65-F5344CB8AC3E}">
        <p14:creationId xmlns:p14="http://schemas.microsoft.com/office/powerpoint/2010/main" val="3241137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C61F604-EE8E-4E6D-84E4-58E5B56C7B54}"/>
              </a:ext>
            </a:extLst>
          </p:cNvPr>
          <p:cNvSpPr/>
          <p:nvPr/>
        </p:nvSpPr>
        <p:spPr>
          <a:xfrm>
            <a:off x="0" y="293170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3E4F1DC-CA77-4B2E-A2AC-80A845851DA4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C371CC-3336-41A3-BB34-6E2A0C172BE3}"/>
              </a:ext>
            </a:extLst>
          </p:cNvPr>
          <p:cNvSpPr/>
          <p:nvPr/>
        </p:nvSpPr>
        <p:spPr>
          <a:xfrm>
            <a:off x="1757681" y="23221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>
              <a:defRPr/>
            </a:pPr>
            <a:r>
              <a:rPr lang="en-US" sz="2800" b="1">
                <a:solidFill>
                  <a:schemeClr val="bg2">
                    <a:lumMod val="25000"/>
                  </a:schemeClr>
                </a:solidFill>
                <a:latin typeface="Calibri" panose="020F0502020204030204"/>
              </a:rPr>
              <a:t>Tesseract - Working</a:t>
            </a:r>
            <a:endParaRPr lang="en-US" err="1">
              <a:solidFill>
                <a:schemeClr val="bg2">
                  <a:lumMod val="25000"/>
                </a:schemeClr>
              </a:solidFill>
              <a:ea typeface="+mn-ea"/>
              <a:cs typeface="+mn-cs"/>
            </a:endParaRPr>
          </a:p>
        </p:txBody>
      </p:sp>
      <p:pic>
        <p:nvPicPr>
          <p:cNvPr id="3" name="Picture 3" descr="A picture containing diagram&#10;&#10;Description automatically generated">
            <a:extLst>
              <a:ext uri="{FF2B5EF4-FFF2-40B4-BE49-F238E27FC236}">
                <a16:creationId xmlns:a16="http://schemas.microsoft.com/office/drawing/2014/main" id="{609FA231-40EA-4B48-A634-65086CD66A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1067" y="1246368"/>
            <a:ext cx="7780866" cy="436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2475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54A2D024-9455-4B2A-8887-68183536CADC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B7094B7-4537-40EF-A0D6-9E058C36C35C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49BD-3D58-4DA7-B68B-F83607442C89}"/>
              </a:ext>
            </a:extLst>
          </p:cNvPr>
          <p:cNvSpPr txBox="1"/>
          <p:nvPr/>
        </p:nvSpPr>
        <p:spPr>
          <a:xfrm>
            <a:off x="4826490" y="6427113"/>
            <a:ext cx="713183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100">
                <a:hlinkClick r:id="rId3"/>
              </a:rPr>
              <a:t>https://www.forbes.com/sites/forbesagencycouncil/2017/10/30/the-value-of-search-results-rankings/?sh=23a1470144d3</a:t>
            </a:r>
            <a:endParaRPr lang="en-IN" sz="1100"/>
          </a:p>
          <a:p>
            <a:endParaRPr lang="en-IN" sz="110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E870C66-07A0-409B-B22B-03AE66B60844}"/>
              </a:ext>
            </a:extLst>
          </p:cNvPr>
          <p:cNvGrpSpPr/>
          <p:nvPr/>
        </p:nvGrpSpPr>
        <p:grpSpPr>
          <a:xfrm>
            <a:off x="1108760" y="1348922"/>
            <a:ext cx="9770179" cy="2145716"/>
            <a:chOff x="1108760" y="1968682"/>
            <a:chExt cx="9770179" cy="2145716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DEA729AD-A515-4781-8426-34C8F994E70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08760" y="1968682"/>
              <a:ext cx="9770179" cy="1798985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657C7CD-E878-49B1-95D3-3C58E1F5B514}"/>
                </a:ext>
              </a:extLst>
            </p:cNvPr>
            <p:cNvSpPr/>
            <p:nvPr/>
          </p:nvSpPr>
          <p:spPr>
            <a:xfrm>
              <a:off x="4534746" y="2883747"/>
              <a:ext cx="5781040" cy="375920"/>
            </a:xfrm>
            <a:prstGeom prst="rect">
              <a:avLst/>
            </a:prstGeom>
            <a:solidFill>
              <a:srgbClr val="FFFF00">
                <a:alpha val="2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6FDFA5E-C60D-4146-958D-4FCEE2DF7A4A}"/>
                </a:ext>
              </a:extLst>
            </p:cNvPr>
            <p:cNvSpPr/>
            <p:nvPr/>
          </p:nvSpPr>
          <p:spPr>
            <a:xfrm>
              <a:off x="1108760" y="3325707"/>
              <a:ext cx="5336066" cy="375920"/>
            </a:xfrm>
            <a:prstGeom prst="rect">
              <a:avLst/>
            </a:prstGeom>
            <a:solidFill>
              <a:srgbClr val="FFFF00">
                <a:alpha val="2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9DD12AB-1F25-4F26-A34B-96ADCE096B9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278163" y="3783779"/>
              <a:ext cx="1027463" cy="330619"/>
            </a:xfrm>
            <a:prstGeom prst="rect">
              <a:avLst/>
            </a:prstGeom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D1980E2C-FA52-4988-803B-E78D306E7F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1984" y="3297330"/>
            <a:ext cx="3441615" cy="2995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177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Rectangle 88">
            <a:extLst>
              <a:ext uri="{FF2B5EF4-FFF2-40B4-BE49-F238E27FC236}">
                <a16:creationId xmlns:a16="http://schemas.microsoft.com/office/drawing/2014/main" id="{5645CAB4-58B9-4E38-919C-7F03D46C0FAD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2004A599-D371-458F-B339-53905C462A9D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B127207B-8279-4E38-B3AE-61395716D7C7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>
                <a:solidFill>
                  <a:schemeClr val="bg2">
                    <a:lumMod val="25000"/>
                  </a:schemeClr>
                </a:solidFill>
              </a:rPr>
              <a:t>Introduc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89C57A9-30A9-483C-B9EA-21FACA1F9063}"/>
              </a:ext>
            </a:extLst>
          </p:cNvPr>
          <p:cNvGrpSpPr/>
          <p:nvPr/>
        </p:nvGrpSpPr>
        <p:grpSpPr>
          <a:xfrm>
            <a:off x="1125810" y="1598103"/>
            <a:ext cx="2926080" cy="4663440"/>
            <a:chOff x="768002" y="1349625"/>
            <a:chExt cx="2852245" cy="4663440"/>
          </a:xfrm>
        </p:grpSpPr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9C00D9CA-A436-437F-8647-D714E175E007}"/>
                </a:ext>
              </a:extLst>
            </p:cNvPr>
            <p:cNvGrpSpPr/>
            <p:nvPr/>
          </p:nvGrpSpPr>
          <p:grpSpPr>
            <a:xfrm>
              <a:off x="768002" y="1349625"/>
              <a:ext cx="2852245" cy="4663440"/>
              <a:chOff x="184534" y="1298495"/>
              <a:chExt cx="2852245" cy="4663440"/>
            </a:xfrm>
          </p:grpSpPr>
          <p:sp>
            <p:nvSpPr>
              <p:cNvPr id="76" name="Trapezoid 75">
                <a:extLst>
                  <a:ext uri="{FF2B5EF4-FFF2-40B4-BE49-F238E27FC236}">
                    <a16:creationId xmlns:a16="http://schemas.microsoft.com/office/drawing/2014/main" id="{8968E2BE-8A77-4B06-B969-78AA30617B3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 rot="5400000">
                <a:off x="-721063" y="2204092"/>
                <a:ext cx="4663440" cy="2852245"/>
              </a:xfrm>
              <a:prstGeom prst="trapezoid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7261EEA9-0639-4CD5-A375-392CAF758EEB}"/>
                  </a:ext>
                </a:extLst>
              </p:cNvPr>
              <p:cNvSpPr/>
              <p:nvPr/>
            </p:nvSpPr>
            <p:spPr>
              <a:xfrm>
                <a:off x="407707" y="3298850"/>
                <a:ext cx="2318131" cy="193899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>
                    <a:solidFill>
                      <a:schemeClr val="bg1"/>
                    </a:solidFill>
                  </a:rPr>
                  <a:t>One of the largest peer-to-peer user classified website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>
                  <a:solidFill>
                    <a:schemeClr val="bg1"/>
                  </a:solidFill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>
                    <a:solidFill>
                      <a:schemeClr val="bg1"/>
                    </a:solidFill>
                  </a:rPr>
                  <a:t>Presence across more than 700 cities in 70 countries</a:t>
                </a:r>
              </a:p>
            </p:txBody>
          </p:sp>
        </p:grpSp>
        <p:pic>
          <p:nvPicPr>
            <p:cNvPr id="105" name="Picture 4" descr="https://i2.wp.com/noblepawnbroker.com/wp-content/uploads/2019/02/craigslist-logo-transparent.png?fit=300%2C225&amp;ssl=1">
              <a:extLst>
                <a:ext uri="{FF2B5EF4-FFF2-40B4-BE49-F238E27FC236}">
                  <a16:creationId xmlns:a16="http://schemas.microsoft.com/office/drawing/2014/main" id="{209FC45A-C653-4ADF-A990-B9D30B9F2F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5563" y="1504287"/>
              <a:ext cx="2098709" cy="15740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E250F53E-90B9-47FB-A5D1-4678ACD94D10}"/>
              </a:ext>
            </a:extLst>
          </p:cNvPr>
          <p:cNvGrpSpPr/>
          <p:nvPr/>
        </p:nvGrpSpPr>
        <p:grpSpPr>
          <a:xfrm>
            <a:off x="4511825" y="1556775"/>
            <a:ext cx="3024442" cy="4663441"/>
            <a:chOff x="4040021" y="1308297"/>
            <a:chExt cx="2946887" cy="4663441"/>
          </a:xfrm>
        </p:grpSpPr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A1877461-A3CA-4394-8498-5CB2BBE0C405}"/>
                </a:ext>
              </a:extLst>
            </p:cNvPr>
            <p:cNvGrpSpPr/>
            <p:nvPr/>
          </p:nvGrpSpPr>
          <p:grpSpPr>
            <a:xfrm>
              <a:off x="4040021" y="1308297"/>
              <a:ext cx="2946887" cy="4663441"/>
              <a:chOff x="3143002" y="1298494"/>
              <a:chExt cx="2946887" cy="4663441"/>
            </a:xfrm>
            <a:solidFill>
              <a:schemeClr val="tx2"/>
            </a:solidFill>
          </p:grpSpPr>
          <p:sp>
            <p:nvSpPr>
              <p:cNvPr id="81" name="Trapezoid 80">
                <a:extLst>
                  <a:ext uri="{FF2B5EF4-FFF2-40B4-BE49-F238E27FC236}">
                    <a16:creationId xmlns:a16="http://schemas.microsoft.com/office/drawing/2014/main" id="{4346719F-1B1C-47FF-89C1-9FD4D874197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 rot="5400000">
                <a:off x="2237404" y="2204092"/>
                <a:ext cx="4663441" cy="2852245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ED46E279-402B-490E-B891-269C3EB8AF3C}"/>
                  </a:ext>
                </a:extLst>
              </p:cNvPr>
              <p:cNvSpPr/>
              <p:nvPr/>
            </p:nvSpPr>
            <p:spPr>
              <a:xfrm>
                <a:off x="3331102" y="2756894"/>
                <a:ext cx="2433822" cy="276999"/>
              </a:xfrm>
              <a:prstGeom prst="rect">
                <a:avLst/>
              </a:prstGeom>
              <a:grpFill/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en-US" b="1">
                    <a:solidFill>
                      <a:schemeClr val="bg1"/>
                    </a:solidFill>
                  </a:rPr>
                  <a:t>Problem Statement</a:t>
                </a:r>
              </a:p>
            </p:txBody>
          </p:sp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7A8AE3EA-D142-4763-9B3C-C22329A351E0}"/>
                  </a:ext>
                </a:extLst>
              </p:cNvPr>
              <p:cNvSpPr/>
              <p:nvPr/>
            </p:nvSpPr>
            <p:spPr>
              <a:xfrm>
                <a:off x="3238841" y="3340086"/>
                <a:ext cx="2851048" cy="974626"/>
              </a:xfrm>
              <a:prstGeom prst="rect">
                <a:avLst/>
              </a:prstGeom>
              <a:noFill/>
            </p:spPr>
            <p:txBody>
              <a:bodyPr wrap="square" lIns="0" tIns="0" rIns="0" bIns="0" anchor="t">
                <a:spAutoFit/>
              </a:bodyPr>
              <a:lstStyle/>
              <a:p>
                <a:pPr marL="285750" indent="-285750">
                  <a:lnSpc>
                    <a:spcPts val="1900"/>
                  </a:lnSpc>
                  <a:buFont typeface="Arial" panose="020B0604020202020204" pitchFamily="34" charset="0"/>
                  <a:buChar char="•"/>
                </a:pPr>
                <a:r>
                  <a:rPr lang="en-US">
                    <a:solidFill>
                      <a:schemeClr val="bg1"/>
                    </a:solidFill>
                  </a:rPr>
                  <a:t>Books section does not include Genre filter  </a:t>
                </a:r>
              </a:p>
              <a:p>
                <a:pPr>
                  <a:lnSpc>
                    <a:spcPts val="1900"/>
                  </a:lnSpc>
                </a:pPr>
                <a:endParaRPr lang="en-US">
                  <a:solidFill>
                    <a:schemeClr val="bg1"/>
                  </a:solidFill>
                </a:endParaRPr>
              </a:p>
              <a:p>
                <a:pPr>
                  <a:lnSpc>
                    <a:spcPts val="1900"/>
                  </a:lnSpc>
                </a:pPr>
                <a:endParaRPr lang="en-US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56324" name="Picture 4" descr="Image result for question mark icon">
              <a:extLst>
                <a:ext uri="{FF2B5EF4-FFF2-40B4-BE49-F238E27FC236}">
                  <a16:creationId xmlns:a16="http://schemas.microsoft.com/office/drawing/2014/main" id="{41AE06C7-CC99-4CDE-BD46-5EB5C65C7E5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13586" y="1800605"/>
              <a:ext cx="890454" cy="8904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55CBD8A-072B-4BB9-A1CC-A9939DE8D5F5}"/>
              </a:ext>
            </a:extLst>
          </p:cNvPr>
          <p:cNvGrpSpPr/>
          <p:nvPr/>
        </p:nvGrpSpPr>
        <p:grpSpPr>
          <a:xfrm>
            <a:off x="7972901" y="1646089"/>
            <a:ext cx="2926080" cy="4663441"/>
            <a:chOff x="7615093" y="1397611"/>
            <a:chExt cx="2852245" cy="4663441"/>
          </a:xfrm>
          <a:solidFill>
            <a:schemeClr val="accent2"/>
          </a:solidFill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BE50C8B6-4AEA-47D6-9C4D-3C2A34A701F8}"/>
                </a:ext>
              </a:extLst>
            </p:cNvPr>
            <p:cNvGrpSpPr/>
            <p:nvPr/>
          </p:nvGrpSpPr>
          <p:grpSpPr>
            <a:xfrm>
              <a:off x="7615093" y="1397611"/>
              <a:ext cx="2852245" cy="4663441"/>
              <a:chOff x="6131279" y="1298496"/>
              <a:chExt cx="2852245" cy="4663441"/>
            </a:xfrm>
            <a:grpFill/>
          </p:grpSpPr>
          <p:sp>
            <p:nvSpPr>
              <p:cNvPr id="94" name="Trapezoid 93">
                <a:extLst>
                  <a:ext uri="{FF2B5EF4-FFF2-40B4-BE49-F238E27FC236}">
                    <a16:creationId xmlns:a16="http://schemas.microsoft.com/office/drawing/2014/main" id="{A0012EAF-DE37-4845-A295-F085B468325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 rot="5400000">
                <a:off x="5225681" y="2204094"/>
                <a:ext cx="4663441" cy="2852245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0BBAB246-5909-48DC-93B5-820064B54E29}"/>
                  </a:ext>
                </a:extLst>
              </p:cNvPr>
              <p:cNvSpPr/>
              <p:nvPr/>
            </p:nvSpPr>
            <p:spPr>
              <a:xfrm>
                <a:off x="6539135" y="2667584"/>
                <a:ext cx="1913321" cy="276999"/>
              </a:xfrm>
              <a:prstGeom prst="rect">
                <a:avLst/>
              </a:prstGeom>
              <a:grpFill/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en-US" b="1">
                    <a:solidFill>
                      <a:schemeClr val="bg1"/>
                    </a:solidFill>
                  </a:rPr>
                  <a:t>Project Objectives</a:t>
                </a: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1E3A0878-2928-4F07-AD31-4ED14E3D05AB}"/>
                  </a:ext>
                </a:extLst>
              </p:cNvPr>
              <p:cNvSpPr/>
              <p:nvPr/>
            </p:nvSpPr>
            <p:spPr>
              <a:xfrm>
                <a:off x="6406706" y="3249010"/>
                <a:ext cx="2516635" cy="974626"/>
              </a:xfrm>
              <a:prstGeom prst="rect">
                <a:avLst/>
              </a:prstGeom>
              <a:grpFill/>
            </p:spPr>
            <p:txBody>
              <a:bodyPr wrap="square" lIns="0" tIns="0" rIns="0" bIns="0" anchor="t">
                <a:spAutoFit/>
              </a:bodyPr>
              <a:lstStyle/>
              <a:p>
                <a:pPr marL="285750" indent="-285750">
                  <a:lnSpc>
                    <a:spcPts val="1900"/>
                  </a:lnSpc>
                  <a:buFont typeface="Arial" panose="020B0604020202020204" pitchFamily="34" charset="0"/>
                  <a:buChar char="•"/>
                </a:pPr>
                <a:r>
                  <a:rPr lang="en-US">
                    <a:solidFill>
                      <a:schemeClr val="bg1"/>
                    </a:solidFill>
                  </a:rPr>
                  <a:t>Assign a genre to each book based on the information provided by the lister</a:t>
                </a:r>
              </a:p>
            </p:txBody>
          </p:sp>
        </p:grpSp>
        <p:pic>
          <p:nvPicPr>
            <p:cNvPr id="56326" name="Picture 6" descr="Image result for objectives icon">
              <a:extLst>
                <a:ext uri="{FF2B5EF4-FFF2-40B4-BE49-F238E27FC236}">
                  <a16:creationId xmlns:a16="http://schemas.microsoft.com/office/drawing/2014/main" id="{9F9E1CAB-8905-4BD1-9AF9-15DE5E29DF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112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22721" y="1921448"/>
              <a:ext cx="837572" cy="843261"/>
            </a:xfrm>
            <a:prstGeom prst="rect">
              <a:avLst/>
            </a:prstGeom>
            <a:grpFill/>
          </p:spPr>
        </p:pic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FFBBEA5D-BABC-B74C-A687-D19609177D8B}"/>
              </a:ext>
            </a:extLst>
          </p:cNvPr>
          <p:cNvSpPr/>
          <p:nvPr/>
        </p:nvSpPr>
        <p:spPr>
          <a:xfrm>
            <a:off x="1866802" y="3015176"/>
            <a:ext cx="23781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Backgroun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61003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0B84EC8B-A346-4F88-87EB-43028C15F629}"/>
              </a:ext>
            </a:extLst>
          </p:cNvPr>
          <p:cNvSpPr/>
          <p:nvPr/>
        </p:nvSpPr>
        <p:spPr>
          <a:xfrm>
            <a:off x="431027" y="1462598"/>
            <a:ext cx="11245128" cy="4393678"/>
          </a:xfrm>
          <a:prstGeom prst="round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27E6107-222E-9040-987F-0A3B402F57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2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27E6107-222E-9040-987F-0A3B402F57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9BF0841-3074-6C49-8BE5-4F26211618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5DF30811-AC9E-43D4-A4CF-089DE2E01C92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0806728-DC84-4226-B451-75FAD88214F1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3A87AF9-FC3D-48A5-A85F-56C1AE9037D1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  <a:cs typeface="Calibri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3D5CF28-EE30-43E0-86C4-7EE3F3C01F76}"/>
              </a:ext>
            </a:extLst>
          </p:cNvPr>
          <p:cNvSpPr/>
          <p:nvPr/>
        </p:nvSpPr>
        <p:spPr>
          <a:xfrm>
            <a:off x="1669999" y="268118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>
                <a:solidFill>
                  <a:schemeClr val="bg2">
                    <a:lumMod val="25000"/>
                  </a:schemeClr>
                </a:solidFill>
                <a:ea typeface="+mn-lt"/>
                <a:cs typeface="+mn-lt"/>
              </a:rPr>
              <a:t>Issue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8B9A58CF-8D2C-463E-B030-3D0AEE1BA272}"/>
              </a:ext>
            </a:extLst>
          </p:cNvPr>
          <p:cNvSpPr/>
          <p:nvPr/>
        </p:nvSpPr>
        <p:spPr>
          <a:xfrm>
            <a:off x="1023228" y="1274707"/>
            <a:ext cx="9827652" cy="501042"/>
          </a:xfrm>
          <a:prstGeom prst="roundRect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chemeClr val="bg1"/>
                </a:solidFill>
                <a:cs typeface="Calibri"/>
              </a:rPr>
              <a:t>Lack of Genre-Specific filtering	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0E77BAB-0055-4DA1-885C-7FEF43183E3A}"/>
              </a:ext>
            </a:extLst>
          </p:cNvPr>
          <p:cNvSpPr txBox="1"/>
          <p:nvPr/>
        </p:nvSpPr>
        <p:spPr>
          <a:xfrm>
            <a:off x="774660" y="1897303"/>
            <a:ext cx="4961122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/>
              <a:t>The books section in craigslist has generic filters regarding metrics like location, price and condition. There is no information regarding </a:t>
            </a:r>
            <a:r>
              <a:rPr lang="en-US" sz="2400" b="1" i="1">
                <a:solidFill>
                  <a:srgbClr val="ED7D31"/>
                </a:solidFill>
              </a:rPr>
              <a:t>Genre of the book. </a:t>
            </a:r>
            <a:endParaRPr lang="en-US" i="1">
              <a:ea typeface="+mn-lt"/>
              <a:cs typeface="+mn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A30AB11-A34E-164E-9B27-493476639F72}"/>
              </a:ext>
            </a:extLst>
          </p:cNvPr>
          <p:cNvSpPr/>
          <p:nvPr/>
        </p:nvSpPr>
        <p:spPr>
          <a:xfrm>
            <a:off x="498567" y="5995991"/>
            <a:ext cx="11177588" cy="5900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>
                <a:solidFill>
                  <a:schemeClr val="tx1"/>
                </a:solidFill>
                <a:ea typeface="+mn-lt"/>
                <a:cs typeface="+mn-lt"/>
              </a:rPr>
              <a:t>This leads to increase in the time spent by the user to find the book and can affect their experience</a:t>
            </a:r>
            <a:endParaRPr lang="en-US" i="1">
              <a:solidFill>
                <a:schemeClr val="tx1"/>
              </a:solidFill>
              <a:cs typeface="Calibri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E7172AC-477B-4646-B665-C128CC9A8D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34133" y="3403956"/>
            <a:ext cx="1439347" cy="233970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9E66C8D-3A2D-463B-A85B-679AE9695F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84332" y="3534627"/>
            <a:ext cx="1741594" cy="2209034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BAAAAAA0-257D-4465-A026-AF7707E2030A}"/>
              </a:ext>
            </a:extLst>
          </p:cNvPr>
          <p:cNvSpPr txBox="1"/>
          <p:nvPr/>
        </p:nvSpPr>
        <p:spPr>
          <a:xfrm>
            <a:off x="6079415" y="1897302"/>
            <a:ext cx="4961122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/>
              <a:t>Other marketplaces for books like </a:t>
            </a:r>
            <a:r>
              <a:rPr lang="en-US" sz="2400" b="1" i="1">
                <a:solidFill>
                  <a:srgbClr val="44536A"/>
                </a:solidFill>
              </a:rPr>
              <a:t>Amazon and eBay </a:t>
            </a:r>
            <a:r>
              <a:rPr lang="en-US" i="1"/>
              <a:t>have these filters built into their websites</a:t>
            </a:r>
            <a:endParaRPr lang="en-US" i="1">
              <a:ea typeface="+mn-lt"/>
              <a:cs typeface="+mn-lt"/>
            </a:endParaRPr>
          </a:p>
        </p:txBody>
      </p:sp>
      <p:pic>
        <p:nvPicPr>
          <p:cNvPr id="39939" name="Picture 3" descr="Shop by Category &#10;Educ &#10;ed &#10;Nonfiction &#10;Food &amp; Drink Cookbook &#10;Books &#10;CLINTON &#10;JAG ES &#10;PATTERSON &#10;PRESIDENT &#10;IS MISSING &#10;Fiction Literature &#10;f-'R%CÄ &#10;HAWKINS &#10;Audio books &#10;0 &#10;Antiquarian &#10;NATIONAL &#10;GEOGRAPH!C &#10;Magazines &#10;Textbooks &#10;Book Accessories &#10;Children Young Adult &#10;Bibles ">
            <a:extLst>
              <a:ext uri="{FF2B5EF4-FFF2-40B4-BE49-F238E27FC236}">
                <a16:creationId xmlns:a16="http://schemas.microsoft.com/office/drawing/2014/main" id="{129597DD-90D2-47DB-9FAD-6F30394C7A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4908" y="3171091"/>
            <a:ext cx="2865988" cy="1418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941" name="Picture 5" descr="Books at Amazon &#10;Shop by Category &#10;Arts &amp; &#10;photogra phy &#10;Biographies &amp; &#10;Memoirs &#10;Business &amp; &#10;Investing &#10;Children's Books &#10;Cookbooks, Food &#10;&amp; Wine &#10;History &#10;Literature &amp; &#10;Fiction &#10;Mystery &amp; &#10;Suspense &#10;Romance &#10;Sci-Fi &amp; Fantasy &#10;Teens &amp; Young &#10;Adult ">
            <a:extLst>
              <a:ext uri="{FF2B5EF4-FFF2-40B4-BE49-F238E27FC236}">
                <a16:creationId xmlns:a16="http://schemas.microsoft.com/office/drawing/2014/main" id="{7281047E-0248-4A5F-86FA-1ECBEE4EA2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4313" y="4717052"/>
            <a:ext cx="4363554" cy="866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4243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468" y="265238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468" y="265238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152400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/>
            <a:endParaRPr lang="en-US" sz="20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3122D5A-53A0-4775-A0AE-C860A160B52D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7D3DCDD-332B-4A05-ABAD-32185BCEE011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112B991-1C2A-46A2-A311-2D5E7E4E88FC}"/>
              </a:ext>
            </a:extLst>
          </p:cNvPr>
          <p:cNvGrpSpPr/>
          <p:nvPr/>
        </p:nvGrpSpPr>
        <p:grpSpPr>
          <a:xfrm>
            <a:off x="622563" y="2354049"/>
            <a:ext cx="10946874" cy="2910909"/>
            <a:chOff x="728039" y="2115510"/>
            <a:chExt cx="10946874" cy="2910909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B92F62F-0F57-45A4-95E2-237FF35E2404}"/>
                </a:ext>
              </a:extLst>
            </p:cNvPr>
            <p:cNvGrpSpPr/>
            <p:nvPr/>
          </p:nvGrpSpPr>
          <p:grpSpPr>
            <a:xfrm>
              <a:off x="728039" y="2115510"/>
              <a:ext cx="2131361" cy="2910909"/>
              <a:chOff x="2914648" y="2051036"/>
              <a:chExt cx="2131361" cy="2910909"/>
            </a:xfrm>
          </p:grpSpPr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B8FEA491-A855-412C-BFF2-ED60C87C7804}"/>
                  </a:ext>
                </a:extLst>
              </p:cNvPr>
              <p:cNvSpPr txBox="1"/>
              <p:nvPr/>
            </p:nvSpPr>
            <p:spPr>
              <a:xfrm>
                <a:off x="2914648" y="4377170"/>
                <a:ext cx="2131361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Calibri" panose="020F0502020204030204" pitchFamily="34" charset="0"/>
                  </a:rPr>
                  <a:t>Problem Statement</a:t>
                </a:r>
              </a:p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Calibri" panose="020F0502020204030204" pitchFamily="34" charset="0"/>
                  </a:rPr>
                  <a:t> and Objectives</a:t>
                </a: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64CB14E9-22BB-4CBA-8403-7A33EDF137B6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64" name="Flowchart: Connector 63">
                  <a:extLst>
                    <a:ext uri="{FF2B5EF4-FFF2-40B4-BE49-F238E27FC236}">
                      <a16:creationId xmlns:a16="http://schemas.microsoft.com/office/drawing/2014/main" id="{222BEE9C-FEC6-4353-93CE-7BA842BCDC34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45556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DB0BAFA4-F586-4142-AA24-4B5FCE71E523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68" name="Arc 67">
                    <a:extLst>
                      <a:ext uri="{FF2B5EF4-FFF2-40B4-BE49-F238E27FC236}">
                        <a16:creationId xmlns:a16="http://schemas.microsoft.com/office/drawing/2014/main" id="{C605FA13-8DBB-4A02-ADD3-379345D55740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69" name="Straight Arrow Connector 68">
                    <a:extLst>
                      <a:ext uri="{FF2B5EF4-FFF2-40B4-BE49-F238E27FC236}">
                        <a16:creationId xmlns:a16="http://schemas.microsoft.com/office/drawing/2014/main" id="{2884B008-5164-454F-8FB7-533CDE0A086C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66" name="Straight Connector 65">
                  <a:extLst>
                    <a:ext uri="{FF2B5EF4-FFF2-40B4-BE49-F238E27FC236}">
                      <a16:creationId xmlns:a16="http://schemas.microsoft.com/office/drawing/2014/main" id="{CDFD1B24-7057-40D2-8C10-46494EBBEEF8}"/>
                    </a:ext>
                  </a:extLst>
                </p:cNvPr>
                <p:cNvCxnSpPr>
                  <a:cxnSpLocks/>
                  <a:stCxn id="68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7" name="TextBox 66">
                  <a:extLst>
                    <a:ext uri="{FF2B5EF4-FFF2-40B4-BE49-F238E27FC236}">
                      <a16:creationId xmlns:a16="http://schemas.microsoft.com/office/drawing/2014/main" id="{DDA6E48A-B1AF-4D15-BE74-741304DFE0EB}"/>
                    </a:ext>
                  </a:extLst>
                </p:cNvPr>
                <p:cNvSpPr txBox="1"/>
                <p:nvPr/>
              </p:nvSpPr>
              <p:spPr>
                <a:xfrm>
                  <a:off x="3511245" y="2373059"/>
                  <a:ext cx="777922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1</a:t>
                  </a:r>
                </a:p>
              </p:txBody>
            </p:sp>
          </p:grp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97014505-2C16-4922-9F8F-4F9626A3EF31}"/>
                </a:ext>
              </a:extLst>
            </p:cNvPr>
            <p:cNvGrpSpPr/>
            <p:nvPr/>
          </p:nvGrpSpPr>
          <p:grpSpPr>
            <a:xfrm>
              <a:off x="2931917" y="2115510"/>
              <a:ext cx="2131361" cy="2654528"/>
              <a:chOff x="2914648" y="2051036"/>
              <a:chExt cx="2131361" cy="2654528"/>
            </a:xfrm>
          </p:grpSpPr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9CA72168-84CE-4813-9377-CD3B754DC2FF}"/>
                  </a:ext>
                </a:extLst>
              </p:cNvPr>
              <p:cNvSpPr txBox="1"/>
              <p:nvPr/>
            </p:nvSpPr>
            <p:spPr>
              <a:xfrm>
                <a:off x="2914648" y="4367010"/>
                <a:ext cx="213136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/>
                  </a:rPr>
                  <a:t>Solution</a:t>
                </a:r>
              </a:p>
            </p:txBody>
          </p: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8B44BA6B-E1C2-4E79-9A18-EE802CDE426B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56" name="Flowchart: Connector 55">
                  <a:extLst>
                    <a:ext uri="{FF2B5EF4-FFF2-40B4-BE49-F238E27FC236}">
                      <a16:creationId xmlns:a16="http://schemas.microsoft.com/office/drawing/2014/main" id="{40C28735-08A8-4F6F-9875-373AE4BF9A58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ED7D3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55DC320F-EDA8-4BE7-9DA0-54EB556B4807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60" name="Arc 59">
                    <a:extLst>
                      <a:ext uri="{FF2B5EF4-FFF2-40B4-BE49-F238E27FC236}">
                        <a16:creationId xmlns:a16="http://schemas.microsoft.com/office/drawing/2014/main" id="{C73CE287-55EF-4D72-A5F2-0CDE2628B540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61" name="Straight Arrow Connector 60">
                    <a:extLst>
                      <a:ext uri="{FF2B5EF4-FFF2-40B4-BE49-F238E27FC236}">
                        <a16:creationId xmlns:a16="http://schemas.microsoft.com/office/drawing/2014/main" id="{D04795E9-C071-4033-BF03-C8EB7434992C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8" name="Straight Connector 57">
                  <a:extLst>
                    <a:ext uri="{FF2B5EF4-FFF2-40B4-BE49-F238E27FC236}">
                      <a16:creationId xmlns:a16="http://schemas.microsoft.com/office/drawing/2014/main" id="{009A3F5B-E975-47B7-96DB-128740609551}"/>
                    </a:ext>
                  </a:extLst>
                </p:cNvPr>
                <p:cNvCxnSpPr>
                  <a:cxnSpLocks/>
                  <a:stCxn id="60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9" name="TextBox 58">
                  <a:extLst>
                    <a:ext uri="{FF2B5EF4-FFF2-40B4-BE49-F238E27FC236}">
                      <a16:creationId xmlns:a16="http://schemas.microsoft.com/office/drawing/2014/main" id="{0925E6A6-6D31-427B-B67A-D6E86B9B2A58}"/>
                    </a:ext>
                  </a:extLst>
                </p:cNvPr>
                <p:cNvSpPr txBox="1"/>
                <p:nvPr/>
              </p:nvSpPr>
              <p:spPr>
                <a:xfrm>
                  <a:off x="3507356" y="2373059"/>
                  <a:ext cx="785701" cy="132343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2</a:t>
                  </a:r>
                </a:p>
              </p:txBody>
            </p:sp>
          </p:grp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31EE24DB-B742-47EC-BF17-139CC3DD4D3E}"/>
                </a:ext>
              </a:extLst>
            </p:cNvPr>
            <p:cNvGrpSpPr/>
            <p:nvPr/>
          </p:nvGrpSpPr>
          <p:grpSpPr>
            <a:xfrm>
              <a:off x="5135795" y="2115510"/>
              <a:ext cx="2131361" cy="2654528"/>
              <a:chOff x="2914648" y="2051036"/>
              <a:chExt cx="2131361" cy="2654528"/>
            </a:xfrm>
          </p:grpSpPr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69BC433F-FB5C-4163-9FC7-E50959957535}"/>
                  </a:ext>
                </a:extLst>
              </p:cNvPr>
              <p:cNvSpPr txBox="1"/>
              <p:nvPr/>
            </p:nvSpPr>
            <p:spPr>
              <a:xfrm>
                <a:off x="2914648" y="4367010"/>
                <a:ext cx="213136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/>
                  </a:rPr>
                  <a:t>Challenges</a:t>
                </a:r>
                <a:endParaRPr lang="en-US" sz="1800" b="1">
                  <a:solidFill>
                    <a:srgbClr val="6B6B6B"/>
                  </a:solidFill>
                  <a:latin typeface="Roboto Condensed"/>
                </a:endParaRPr>
              </a:p>
            </p:txBody>
          </p: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BA7C04F7-2345-4FC5-A927-8A0701B6D8DD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48" name="Flowchart: Connector 47">
                  <a:extLst>
                    <a:ext uri="{FF2B5EF4-FFF2-40B4-BE49-F238E27FC236}">
                      <a16:creationId xmlns:a16="http://schemas.microsoft.com/office/drawing/2014/main" id="{D4FF8C64-F2B9-4A75-8D07-82D01BAE4A55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45556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9" name="Group 48">
                  <a:extLst>
                    <a:ext uri="{FF2B5EF4-FFF2-40B4-BE49-F238E27FC236}">
                      <a16:creationId xmlns:a16="http://schemas.microsoft.com/office/drawing/2014/main" id="{88D55C04-62A6-422E-A310-E5302AA3EE11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52" name="Arc 51">
                    <a:extLst>
                      <a:ext uri="{FF2B5EF4-FFF2-40B4-BE49-F238E27FC236}">
                        <a16:creationId xmlns:a16="http://schemas.microsoft.com/office/drawing/2014/main" id="{FD2E6811-3916-48F9-887F-65A51E831BFF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53" name="Straight Arrow Connector 52">
                    <a:extLst>
                      <a:ext uri="{FF2B5EF4-FFF2-40B4-BE49-F238E27FC236}">
                        <a16:creationId xmlns:a16="http://schemas.microsoft.com/office/drawing/2014/main" id="{75D21054-8ECE-469E-8B06-E60FA078B0D1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0" name="Straight Connector 49">
                  <a:extLst>
                    <a:ext uri="{FF2B5EF4-FFF2-40B4-BE49-F238E27FC236}">
                      <a16:creationId xmlns:a16="http://schemas.microsoft.com/office/drawing/2014/main" id="{155360F9-9D6A-41AE-A0BB-14FC19835E07}"/>
                    </a:ext>
                  </a:extLst>
                </p:cNvPr>
                <p:cNvCxnSpPr>
                  <a:cxnSpLocks/>
                  <a:stCxn id="52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3A43AF1F-49BD-42C7-A160-3804FE56960F}"/>
                    </a:ext>
                  </a:extLst>
                </p:cNvPr>
                <p:cNvSpPr txBox="1"/>
                <p:nvPr/>
              </p:nvSpPr>
              <p:spPr>
                <a:xfrm>
                  <a:off x="3511245" y="2373059"/>
                  <a:ext cx="777922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3</a:t>
                  </a:r>
                </a:p>
              </p:txBody>
            </p:sp>
          </p:grp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6020D234-67C2-4ACB-A10D-7CCA7DD3C773}"/>
                </a:ext>
              </a:extLst>
            </p:cNvPr>
            <p:cNvGrpSpPr/>
            <p:nvPr/>
          </p:nvGrpSpPr>
          <p:grpSpPr>
            <a:xfrm>
              <a:off x="7339673" y="2115510"/>
              <a:ext cx="2131361" cy="2654528"/>
              <a:chOff x="2914648" y="2051036"/>
              <a:chExt cx="2131361" cy="2654528"/>
            </a:xfrm>
          </p:grpSpPr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983E13F1-9FE4-4B81-A90B-F211F6DB5CE5}"/>
                  </a:ext>
                </a:extLst>
              </p:cNvPr>
              <p:cNvSpPr txBox="1"/>
              <p:nvPr/>
            </p:nvSpPr>
            <p:spPr>
              <a:xfrm>
                <a:off x="2914648" y="4367010"/>
                <a:ext cx="213136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>
                    <a:solidFill>
                      <a:srgbClr val="6B6B6B"/>
                    </a:solidFill>
                    <a:latin typeface="Roboto Condensed"/>
                  </a:rPr>
                  <a:t>Way forward</a:t>
                </a:r>
                <a:endParaRPr lang="en-US" sz="1800" b="1">
                  <a:solidFill>
                    <a:srgbClr val="6B6B6B"/>
                  </a:solidFill>
                  <a:latin typeface="Roboto Condensed"/>
                </a:endParaRPr>
              </a:p>
            </p:txBody>
          </p: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93DAB995-67E7-4966-B7B2-2759A1FC5B2C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40" name="Flowchart: Connector 39">
                  <a:extLst>
                    <a:ext uri="{FF2B5EF4-FFF2-40B4-BE49-F238E27FC236}">
                      <a16:creationId xmlns:a16="http://schemas.microsoft.com/office/drawing/2014/main" id="{4E70B1D2-1E63-4A66-9CFB-89BAA56515BB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45556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1" name="Group 40">
                  <a:extLst>
                    <a:ext uri="{FF2B5EF4-FFF2-40B4-BE49-F238E27FC236}">
                      <a16:creationId xmlns:a16="http://schemas.microsoft.com/office/drawing/2014/main" id="{C111C3E9-E9D0-4AF4-BF1E-91D3E2D2F807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44" name="Arc 43">
                    <a:extLst>
                      <a:ext uri="{FF2B5EF4-FFF2-40B4-BE49-F238E27FC236}">
                        <a16:creationId xmlns:a16="http://schemas.microsoft.com/office/drawing/2014/main" id="{30B1B492-3914-400B-A9E3-26948D2A0819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45" name="Straight Arrow Connector 44">
                    <a:extLst>
                      <a:ext uri="{FF2B5EF4-FFF2-40B4-BE49-F238E27FC236}">
                        <a16:creationId xmlns:a16="http://schemas.microsoft.com/office/drawing/2014/main" id="{E2B2D2FD-D772-4FEC-8C6C-948D4E31A5F5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9456486C-3105-447C-A323-13E872B13F17}"/>
                    </a:ext>
                  </a:extLst>
                </p:cNvPr>
                <p:cNvCxnSpPr>
                  <a:cxnSpLocks/>
                  <a:stCxn id="44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3" name="TextBox 42">
                  <a:extLst>
                    <a:ext uri="{FF2B5EF4-FFF2-40B4-BE49-F238E27FC236}">
                      <a16:creationId xmlns:a16="http://schemas.microsoft.com/office/drawing/2014/main" id="{BC0B7684-2F6A-4722-909D-852471D976FE}"/>
                    </a:ext>
                  </a:extLst>
                </p:cNvPr>
                <p:cNvSpPr txBox="1"/>
                <p:nvPr/>
              </p:nvSpPr>
              <p:spPr>
                <a:xfrm>
                  <a:off x="3507356" y="2373059"/>
                  <a:ext cx="785701" cy="132343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4</a:t>
                  </a:r>
                </a:p>
              </p:txBody>
            </p:sp>
          </p:grp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AF25D0-57AC-4ABC-AA87-705D9C8E5C49}"/>
                </a:ext>
              </a:extLst>
            </p:cNvPr>
            <p:cNvGrpSpPr/>
            <p:nvPr/>
          </p:nvGrpSpPr>
          <p:grpSpPr>
            <a:xfrm>
              <a:off x="9543552" y="2115510"/>
              <a:ext cx="2131361" cy="2654528"/>
              <a:chOff x="2914648" y="2051036"/>
              <a:chExt cx="2131361" cy="2654528"/>
            </a:xfrm>
          </p:grpSpPr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490D244C-C74F-48CA-8CD8-300153C369C9}"/>
                  </a:ext>
                </a:extLst>
              </p:cNvPr>
              <p:cNvSpPr txBox="1"/>
              <p:nvPr/>
            </p:nvSpPr>
            <p:spPr>
              <a:xfrm>
                <a:off x="2914648" y="4367010"/>
                <a:ext cx="213136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117560"/>
                <a:r>
                  <a:rPr lang="en-US" sz="1600" b="1">
                    <a:solidFill>
                      <a:srgbClr val="6B6B6B"/>
                    </a:solidFill>
                    <a:latin typeface="Roboto Condensed"/>
                  </a:rPr>
                  <a:t>Recommendation</a:t>
                </a:r>
              </a:p>
            </p:txBody>
          </p: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6E26DB95-4DD2-4F41-B8A9-385F33616254}"/>
                  </a:ext>
                </a:extLst>
              </p:cNvPr>
              <p:cNvGrpSpPr/>
              <p:nvPr/>
            </p:nvGrpSpPr>
            <p:grpSpPr>
              <a:xfrm>
                <a:off x="3194651" y="2051036"/>
                <a:ext cx="1811970" cy="2189660"/>
                <a:chOff x="3194651" y="2051036"/>
                <a:chExt cx="1811970" cy="2189660"/>
              </a:xfrm>
            </p:grpSpPr>
            <p:sp>
              <p:nvSpPr>
                <p:cNvPr id="32" name="Flowchart: Connector 31">
                  <a:extLst>
                    <a:ext uri="{FF2B5EF4-FFF2-40B4-BE49-F238E27FC236}">
                      <a16:creationId xmlns:a16="http://schemas.microsoft.com/office/drawing/2014/main" id="{4C2F6C00-A0C5-49BF-8488-57B15D35F656}"/>
                    </a:ext>
                  </a:extLst>
                </p:cNvPr>
                <p:cNvSpPr/>
                <p:nvPr/>
              </p:nvSpPr>
              <p:spPr>
                <a:xfrm>
                  <a:off x="3394415" y="2250800"/>
                  <a:ext cx="1011583" cy="1011583"/>
                </a:xfrm>
                <a:prstGeom prst="flowChartConnector">
                  <a:avLst/>
                </a:prstGeom>
                <a:solidFill>
                  <a:srgbClr val="45556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33" name="Group 32">
                  <a:extLst>
                    <a:ext uri="{FF2B5EF4-FFF2-40B4-BE49-F238E27FC236}">
                      <a16:creationId xmlns:a16="http://schemas.microsoft.com/office/drawing/2014/main" id="{79D183E5-E92F-40F3-A0A2-9D388949B902}"/>
                    </a:ext>
                  </a:extLst>
                </p:cNvPr>
                <p:cNvGrpSpPr/>
                <p:nvPr/>
              </p:nvGrpSpPr>
              <p:grpSpPr>
                <a:xfrm>
                  <a:off x="3194651" y="2051036"/>
                  <a:ext cx="1811970" cy="1411110"/>
                  <a:chOff x="3194651" y="2051036"/>
                  <a:chExt cx="1811970" cy="1411110"/>
                </a:xfrm>
              </p:grpSpPr>
              <p:sp>
                <p:nvSpPr>
                  <p:cNvPr id="36" name="Arc 35">
                    <a:extLst>
                      <a:ext uri="{FF2B5EF4-FFF2-40B4-BE49-F238E27FC236}">
                        <a16:creationId xmlns:a16="http://schemas.microsoft.com/office/drawing/2014/main" id="{86B53493-4D5D-4A43-93D9-13E9D8841276}"/>
                      </a:ext>
                    </a:extLst>
                  </p:cNvPr>
                  <p:cNvSpPr/>
                  <p:nvPr/>
                </p:nvSpPr>
                <p:spPr>
                  <a:xfrm>
                    <a:off x="3194651" y="2051036"/>
                    <a:ext cx="1411110" cy="1411110"/>
                  </a:xfrm>
                  <a:prstGeom prst="arc">
                    <a:avLst>
                      <a:gd name="adj1" fmla="val 5008766"/>
                      <a:gd name="adj2" fmla="val 577375"/>
                    </a:avLst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37" name="Straight Arrow Connector 36">
                    <a:extLst>
                      <a:ext uri="{FF2B5EF4-FFF2-40B4-BE49-F238E27FC236}">
                        <a16:creationId xmlns:a16="http://schemas.microsoft.com/office/drawing/2014/main" id="{A8EE492F-F236-4653-AAB5-221B2EE8CFA2}"/>
                      </a:ext>
                    </a:extLst>
                  </p:cNvPr>
                  <p:cNvCxnSpPr/>
                  <p:nvPr/>
                </p:nvCxnSpPr>
                <p:spPr>
                  <a:xfrm>
                    <a:off x="4595212" y="2862747"/>
                    <a:ext cx="411409" cy="0"/>
                  </a:xfrm>
                  <a:prstGeom prst="straightConnector1">
                    <a:avLst/>
                  </a:prstGeom>
                  <a:ln w="25400">
                    <a:solidFill>
                      <a:schemeClr val="bg1">
                        <a:lumMod val="50000"/>
                      </a:schemeClr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AAB0622E-74FE-4CE6-AD10-50101DFE71D7}"/>
                    </a:ext>
                  </a:extLst>
                </p:cNvPr>
                <p:cNvCxnSpPr>
                  <a:cxnSpLocks/>
                  <a:stCxn id="36" idx="0"/>
                </p:cNvCxnSpPr>
                <p:nvPr/>
              </p:nvCxnSpPr>
              <p:spPr>
                <a:xfrm>
                  <a:off x="3980329" y="3457582"/>
                  <a:ext cx="0" cy="783114"/>
                </a:xfrm>
                <a:prstGeom prst="line">
                  <a:avLst/>
                </a:prstGeom>
                <a:ln w="25400">
                  <a:solidFill>
                    <a:schemeClr val="bg1">
                      <a:lumMod val="50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2A9CAB57-C196-4C1E-90B3-6F6994972F4B}"/>
                    </a:ext>
                  </a:extLst>
                </p:cNvPr>
                <p:cNvSpPr txBox="1"/>
                <p:nvPr/>
              </p:nvSpPr>
              <p:spPr>
                <a:xfrm>
                  <a:off x="3511245" y="2373059"/>
                  <a:ext cx="777922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400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Georgia" panose="02040502050405020303" pitchFamily="18" charset="0"/>
                    </a:rPr>
                    <a:t>05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581548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9348AD6-D40C-024E-86B3-BFB0EE1E3A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9348AD6-D40C-024E-86B3-BFB0EE1E3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403D29D-F9B3-9349-910C-1BE927942F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7A14E421-4621-494B-9ABD-6E5BD56809C6}"/>
              </a:ext>
            </a:extLst>
          </p:cNvPr>
          <p:cNvSpPr/>
          <p:nvPr/>
        </p:nvSpPr>
        <p:spPr>
          <a:xfrm>
            <a:off x="0" y="264294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156F130-DF7A-4BCC-A5ED-A204EB998339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E6904C7-ED97-4646-81E8-E416A140B2BA}"/>
              </a:ext>
            </a:extLst>
          </p:cNvPr>
          <p:cNvSpPr/>
          <p:nvPr/>
        </p:nvSpPr>
        <p:spPr>
          <a:xfrm>
            <a:off x="1669999" y="268118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>
                <a:solidFill>
                  <a:schemeClr val="bg2">
                    <a:lumMod val="25000"/>
                  </a:schemeClr>
                </a:solidFill>
                <a:ea typeface="+mn-lt"/>
                <a:cs typeface="+mn-lt"/>
              </a:rPr>
              <a:t>Potential solutions to the issues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157624F9-C141-40B1-9B93-BBFCD66E987C}"/>
              </a:ext>
            </a:extLst>
          </p:cNvPr>
          <p:cNvSpPr/>
          <p:nvPr/>
        </p:nvSpPr>
        <p:spPr>
          <a:xfrm>
            <a:off x="431026" y="1656566"/>
            <a:ext cx="11425693" cy="4864273"/>
          </a:xfrm>
          <a:prstGeom prst="round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FE9C847-1B93-43A3-B916-E78713906795}"/>
              </a:ext>
            </a:extLst>
          </p:cNvPr>
          <p:cNvSpPr txBox="1"/>
          <p:nvPr/>
        </p:nvSpPr>
        <p:spPr>
          <a:xfrm>
            <a:off x="878840" y="2462436"/>
            <a:ext cx="4789116" cy="28623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/>
              <a:t>Text analytics to identify genre of the books. </a:t>
            </a:r>
            <a:r>
              <a:rPr lang="en-US" sz="2400" b="1" i="1">
                <a:solidFill>
                  <a:srgbClr val="ED7D31"/>
                </a:solidFill>
              </a:rPr>
              <a:t>Classification model</a:t>
            </a:r>
            <a:r>
              <a:rPr lang="en-US" sz="1800" b="1" i="1">
                <a:solidFill>
                  <a:srgbClr val="ED7D31"/>
                </a:solidFill>
              </a:rPr>
              <a:t> </a:t>
            </a:r>
            <a:r>
              <a:rPr lang="en-US" i="1"/>
              <a:t>to categorize them into their respective genres. </a:t>
            </a:r>
            <a:endParaRPr lang="en-US" sz="2400" i="1">
              <a:solidFill>
                <a:srgbClr val="ED7D31"/>
              </a:solidFill>
              <a:cs typeface="Calibri"/>
            </a:endParaRPr>
          </a:p>
          <a:p>
            <a:endParaRPr lang="en-US" i="1">
              <a:cs typeface="Calibri"/>
            </a:endParaRPr>
          </a:p>
          <a:p>
            <a:endParaRPr lang="en-US" i="1">
              <a:cs typeface="Calibri"/>
            </a:endParaRPr>
          </a:p>
          <a:p>
            <a:endParaRPr lang="en-US" i="1">
              <a:cs typeface="Calibri"/>
            </a:endParaRPr>
          </a:p>
          <a:p>
            <a:endParaRPr lang="en-US" i="1">
              <a:cs typeface="Calibri"/>
            </a:endParaRPr>
          </a:p>
          <a:p>
            <a:r>
              <a:rPr lang="en-US" i="1">
                <a:cs typeface="Calibri"/>
              </a:rPr>
              <a:t>Train model to classify </a:t>
            </a:r>
            <a:r>
              <a:rPr lang="en-US" i="1">
                <a:solidFill>
                  <a:srgbClr val="000000"/>
                </a:solidFill>
                <a:cs typeface="Calibri"/>
              </a:rPr>
              <a:t>into</a:t>
            </a:r>
            <a:r>
              <a:rPr lang="en-US" sz="2400" b="1" i="1">
                <a:solidFill>
                  <a:srgbClr val="ED7D31"/>
                </a:solidFill>
                <a:cs typeface="Calibri"/>
              </a:rPr>
              <a:t> 14 different genres </a:t>
            </a:r>
            <a:r>
              <a:rPr lang="en-US" i="1">
                <a:cs typeface="Calibri"/>
              </a:rPr>
              <a:t>like History, Travel, Fiction etc. 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2AF5A19-A456-4C0D-975F-8FB33D9146B9}"/>
              </a:ext>
            </a:extLst>
          </p:cNvPr>
          <p:cNvSpPr/>
          <p:nvPr/>
        </p:nvSpPr>
        <p:spPr>
          <a:xfrm>
            <a:off x="921628" y="1468676"/>
            <a:ext cx="9502532" cy="501042"/>
          </a:xfrm>
          <a:prstGeom prst="roundRect">
            <a:avLst/>
          </a:prstGeom>
          <a:solidFill>
            <a:srgbClr val="445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bg1"/>
                </a:solidFill>
                <a:cs typeface="Calibri"/>
              </a:rPr>
              <a:t>Classification Mod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18E4236-C47F-4ADA-9239-E73C7B0886D5}"/>
              </a:ext>
            </a:extLst>
          </p:cNvPr>
          <p:cNvSpPr txBox="1"/>
          <p:nvPr/>
        </p:nvSpPr>
        <p:spPr>
          <a:xfrm>
            <a:off x="7587310" y="4339660"/>
            <a:ext cx="31902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3200" b="1" i="1">
                <a:solidFill>
                  <a:srgbClr val="44536A"/>
                </a:solidFill>
              </a:rPr>
              <a:t>Amazon listings</a:t>
            </a:r>
          </a:p>
          <a:p>
            <a:pPr algn="ctr"/>
            <a:r>
              <a:rPr lang="en-IN" b="1" i="1">
                <a:solidFill>
                  <a:srgbClr val="44536A"/>
                </a:solidFill>
              </a:rPr>
              <a:t>(207,000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5D3971B-1BDD-433A-A9E6-3A6C9FB555EF}"/>
              </a:ext>
            </a:extLst>
          </p:cNvPr>
          <p:cNvSpPr txBox="1"/>
          <p:nvPr/>
        </p:nvSpPr>
        <p:spPr>
          <a:xfrm>
            <a:off x="7167216" y="2452276"/>
            <a:ext cx="384401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3200" b="1" i="1">
                <a:solidFill>
                  <a:srgbClr val="44536A"/>
                </a:solidFill>
              </a:rPr>
              <a:t>Seattle listings</a:t>
            </a:r>
          </a:p>
          <a:p>
            <a:pPr algn="ctr"/>
            <a:r>
              <a:rPr lang="en-IN" b="1" i="1">
                <a:solidFill>
                  <a:srgbClr val="44536A"/>
                </a:solidFill>
              </a:rPr>
              <a:t>(971)</a:t>
            </a:r>
          </a:p>
        </p:txBody>
      </p:sp>
    </p:spTree>
    <p:extLst>
      <p:ext uri="{BB962C8B-B14F-4D97-AF65-F5344CB8AC3E}">
        <p14:creationId xmlns:p14="http://schemas.microsoft.com/office/powerpoint/2010/main" val="30643931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A80A98B8-6DAB-784F-AE8C-FDC98086080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18265" y="5562668"/>
            <a:ext cx="2503515" cy="963852"/>
          </a:xfrm>
        </p:spPr>
        <p:txBody>
          <a:bodyPr>
            <a:normAutofit/>
          </a:bodyPr>
          <a:lstStyle/>
          <a:p>
            <a:r>
              <a:rPr lang="en-US" sz="2000" b="0">
                <a:solidFill>
                  <a:schemeClr val="tx1"/>
                </a:solidFill>
              </a:rPr>
              <a:t>Scrape Craigslist’s Book listing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0DACE07F-6244-2B4D-8A9B-771CC068D47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86623" y="1577287"/>
            <a:ext cx="3251219" cy="398514"/>
          </a:xfrm>
        </p:spPr>
        <p:txBody>
          <a:bodyPr>
            <a:noAutofit/>
          </a:bodyPr>
          <a:lstStyle/>
          <a:p>
            <a:r>
              <a:rPr lang="en-US" sz="2000" b="0">
                <a:solidFill>
                  <a:schemeClr val="tx1"/>
                </a:solidFill>
              </a:rPr>
              <a:t>Train, Validate and Test various models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920DCCA-3151-3147-B04A-DEF13B632EF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32026" y="5562668"/>
            <a:ext cx="3880207" cy="795771"/>
          </a:xfrm>
        </p:spPr>
        <p:txBody>
          <a:bodyPr>
            <a:normAutofit/>
          </a:bodyPr>
          <a:lstStyle/>
          <a:p>
            <a:r>
              <a:rPr lang="en-US" sz="2000" b="0">
                <a:solidFill>
                  <a:schemeClr val="tx1"/>
                </a:solidFill>
              </a:rPr>
              <a:t>Tokenize, Stop- words removal and </a:t>
            </a:r>
            <a:r>
              <a:rPr lang="en-US" sz="2000" b="0" err="1">
                <a:solidFill>
                  <a:schemeClr val="tx1"/>
                </a:solidFill>
              </a:rPr>
              <a:t>Tf</a:t>
            </a:r>
            <a:r>
              <a:rPr lang="en-US" sz="2000" b="0">
                <a:solidFill>
                  <a:schemeClr val="tx1"/>
                </a:solidFill>
              </a:rPr>
              <a:t>-IDF vectorization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405B99D8-A9CA-CB42-8089-5A6C9C84878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033351" y="5448098"/>
            <a:ext cx="2700338" cy="795771"/>
          </a:xfrm>
        </p:spPr>
        <p:txBody>
          <a:bodyPr>
            <a:normAutofit fontScale="92500" lnSpcReduction="10000"/>
          </a:bodyPr>
          <a:lstStyle/>
          <a:p>
            <a:r>
              <a:rPr lang="en-US" sz="2000" b="0">
                <a:solidFill>
                  <a:schemeClr val="tx1"/>
                </a:solidFill>
              </a:rPr>
              <a:t>Model is finalized based on validation set accurac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DC27924-8819-480D-A09F-6E2234846246}"/>
              </a:ext>
            </a:extLst>
          </p:cNvPr>
          <p:cNvSpPr/>
          <p:nvPr/>
        </p:nvSpPr>
        <p:spPr>
          <a:xfrm>
            <a:off x="0" y="293170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6558C92-42B4-4E1B-9565-A952D88F8440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4C91511-C99A-43C8-8C90-AADAACF14290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>
                <a:solidFill>
                  <a:schemeClr val="bg2">
                    <a:lumMod val="25000"/>
                  </a:schemeClr>
                </a:solidFill>
              </a:rPr>
              <a:t>Analysis: Detailed flowchart</a:t>
            </a:r>
          </a:p>
        </p:txBody>
      </p:sp>
      <p:pic>
        <p:nvPicPr>
          <p:cNvPr id="1026" name="Picture 2" descr="Image result for data scraping icon">
            <a:extLst>
              <a:ext uri="{FF2B5EF4-FFF2-40B4-BE49-F238E27FC236}">
                <a16:creationId xmlns:a16="http://schemas.microsoft.com/office/drawing/2014/main" id="{0E6309DB-F956-4FF7-AFF1-7E0D079221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186" y="3235344"/>
            <a:ext cx="1103488" cy="1103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result for data cleaning icon">
            <a:extLst>
              <a:ext uri="{FF2B5EF4-FFF2-40B4-BE49-F238E27FC236}">
                <a16:creationId xmlns:a16="http://schemas.microsoft.com/office/drawing/2014/main" id="{074E7A05-B6E0-42EF-B796-E4CBDFBF9F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379"/>
          <a:stretch/>
        </p:blipFill>
        <p:spPr bwMode="auto">
          <a:xfrm>
            <a:off x="5620516" y="3313565"/>
            <a:ext cx="958726" cy="937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tuning icon">
            <a:extLst>
              <a:ext uri="{FF2B5EF4-FFF2-40B4-BE49-F238E27FC236}">
                <a16:creationId xmlns:a16="http://schemas.microsoft.com/office/drawing/2014/main" id="{F823609C-20BA-4039-A30F-EF3734E869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4810" y="3480605"/>
            <a:ext cx="795771" cy="795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Image result for evaluation icon">
            <a:extLst>
              <a:ext uri="{FF2B5EF4-FFF2-40B4-BE49-F238E27FC236}">
                <a16:creationId xmlns:a16="http://schemas.microsoft.com/office/drawing/2014/main" id="{18E3820A-AC64-426C-990D-E32F534020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950" y="3409749"/>
            <a:ext cx="920651" cy="920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Content Placeholder 23">
            <a:extLst>
              <a:ext uri="{FF2B5EF4-FFF2-40B4-BE49-F238E27FC236}">
                <a16:creationId xmlns:a16="http://schemas.microsoft.com/office/drawing/2014/main" id="{77C47CA2-9DE8-429B-AD26-F5C31F13D618}"/>
              </a:ext>
            </a:extLst>
          </p:cNvPr>
          <p:cNvSpPr txBox="1">
            <a:spLocks/>
          </p:cNvSpPr>
          <p:nvPr/>
        </p:nvSpPr>
        <p:spPr>
          <a:xfrm>
            <a:off x="2254159" y="1577287"/>
            <a:ext cx="3251219" cy="39851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7200" b="1" kern="1200">
                <a:solidFill>
                  <a:srgbClr val="44536A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0">
                <a:solidFill>
                  <a:schemeClr val="tx1"/>
                </a:solidFill>
              </a:rPr>
              <a:t>Manual genre tagging of books</a:t>
            </a:r>
          </a:p>
        </p:txBody>
      </p:sp>
      <p:pic>
        <p:nvPicPr>
          <p:cNvPr id="2" name="Graphic 2" descr="Tag outline">
            <a:extLst>
              <a:ext uri="{FF2B5EF4-FFF2-40B4-BE49-F238E27FC236}">
                <a16:creationId xmlns:a16="http://schemas.microsoft.com/office/drawing/2014/main" id="{71611768-3B32-4057-A919-90FE8EBD90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20533" y="342900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1322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CDD324B7-ED84-4F1D-8F6C-EEA42A2A9B07}"/>
              </a:ext>
            </a:extLst>
          </p:cNvPr>
          <p:cNvSpPr/>
          <p:nvPr/>
        </p:nvSpPr>
        <p:spPr>
          <a:xfrm>
            <a:off x="1566333" y="5359399"/>
            <a:ext cx="9719733" cy="77046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61F604-EE8E-4E6D-84E4-58E5B56C7B54}"/>
              </a:ext>
            </a:extLst>
          </p:cNvPr>
          <p:cNvSpPr/>
          <p:nvPr/>
        </p:nvSpPr>
        <p:spPr>
          <a:xfrm>
            <a:off x="0" y="293170"/>
            <a:ext cx="1757680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3E4F1DC-CA77-4B2E-A2AC-80A845851DA4}"/>
              </a:ext>
            </a:extLst>
          </p:cNvPr>
          <p:cNvSpPr/>
          <p:nvPr/>
        </p:nvSpPr>
        <p:spPr>
          <a:xfrm>
            <a:off x="8575041" y="293170"/>
            <a:ext cx="3616959" cy="7412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C371CC-3336-41A3-BB34-6E2A0C172BE3}"/>
              </a:ext>
            </a:extLst>
          </p:cNvPr>
          <p:cNvSpPr/>
          <p:nvPr/>
        </p:nvSpPr>
        <p:spPr>
          <a:xfrm>
            <a:off x="1757681" y="293170"/>
            <a:ext cx="6817360" cy="741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Accuracy comparison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413D94E8-A61C-40E2-B541-B332BDEBCCB6}"/>
              </a:ext>
            </a:extLst>
          </p:cNvPr>
          <p:cNvSpPr/>
          <p:nvPr/>
        </p:nvSpPr>
        <p:spPr>
          <a:xfrm>
            <a:off x="1639926" y="1879523"/>
            <a:ext cx="2521390" cy="59552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3E4D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6B6B6B"/>
                </a:solidFill>
              </a:rPr>
              <a:t>Naïve Bayes</a:t>
            </a: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EDAED089-E598-410E-84D2-7833384C5401}"/>
              </a:ext>
            </a:extLst>
          </p:cNvPr>
          <p:cNvSpPr/>
          <p:nvPr/>
        </p:nvSpPr>
        <p:spPr>
          <a:xfrm>
            <a:off x="1637835" y="2597850"/>
            <a:ext cx="2521390" cy="59552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3E4D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>
                <a:solidFill>
                  <a:srgbClr val="6B6B6B"/>
                </a:solidFill>
              </a:rPr>
              <a:t>Logistic Regression</a:t>
            </a: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13C6C20A-ED6E-4AB0-B32A-023F5A9C74B6}"/>
              </a:ext>
            </a:extLst>
          </p:cNvPr>
          <p:cNvSpPr/>
          <p:nvPr/>
        </p:nvSpPr>
        <p:spPr>
          <a:xfrm>
            <a:off x="1646950" y="4044559"/>
            <a:ext cx="2521390" cy="59552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3E4D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6B6B6B"/>
                </a:solidFill>
              </a:rPr>
              <a:t>    Random Forest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C55EF82-5F39-4FBE-9FB9-F71800FA3BB4}"/>
              </a:ext>
            </a:extLst>
          </p:cNvPr>
          <p:cNvSpPr/>
          <p:nvPr/>
        </p:nvSpPr>
        <p:spPr>
          <a:xfrm>
            <a:off x="1635008" y="4762886"/>
            <a:ext cx="2521390" cy="53949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3E4D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rgbClr val="6B6B6B"/>
                </a:solidFill>
              </a:rPr>
              <a:t>      Neural Networks</a:t>
            </a:r>
            <a:endParaRPr lang="en-US"/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ECEB6EB5-9841-4006-A6D2-0A3C75218D4A}"/>
              </a:ext>
            </a:extLst>
          </p:cNvPr>
          <p:cNvSpPr/>
          <p:nvPr/>
        </p:nvSpPr>
        <p:spPr>
          <a:xfrm>
            <a:off x="1645905" y="5436390"/>
            <a:ext cx="2510185" cy="595528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28575">
            <a:solidFill>
              <a:srgbClr val="3E4D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rgbClr val="6B6B6B"/>
                </a:solidFill>
              </a:rPr>
              <a:t>SVM</a:t>
            </a:r>
            <a:endParaRPr lang="en-US"/>
          </a:p>
        </p:txBody>
      </p:sp>
      <p:pic>
        <p:nvPicPr>
          <p:cNvPr id="75" name="Picture 6" descr="Image result for support vector machine icon">
            <a:extLst>
              <a:ext uri="{FF2B5EF4-FFF2-40B4-BE49-F238E27FC236}">
                <a16:creationId xmlns:a16="http://schemas.microsoft.com/office/drawing/2014/main" id="{508033A2-4C21-44BE-9A1F-ADCF6B8D48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9174" y="5539990"/>
            <a:ext cx="406122" cy="406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8">
            <a:extLst>
              <a:ext uri="{FF2B5EF4-FFF2-40B4-BE49-F238E27FC236}">
                <a16:creationId xmlns:a16="http://schemas.microsoft.com/office/drawing/2014/main" id="{DD97B3EC-C03E-41E8-B586-E8ADAA1E4F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1640588" y="4051414"/>
            <a:ext cx="637847" cy="54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20" descr="Network">
            <a:extLst>
              <a:ext uri="{FF2B5EF4-FFF2-40B4-BE49-F238E27FC236}">
                <a16:creationId xmlns:a16="http://schemas.microsoft.com/office/drawing/2014/main" id="{29A21259-09B0-4F6A-81EE-74A077D478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auto">
          <a:xfrm>
            <a:off x="1657418" y="1956301"/>
            <a:ext cx="465332" cy="46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4">
            <a:extLst>
              <a:ext uri="{FF2B5EF4-FFF2-40B4-BE49-F238E27FC236}">
                <a16:creationId xmlns:a16="http://schemas.microsoft.com/office/drawing/2014/main" id="{690A064D-FE67-4A35-B273-D418DB665B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1636832" y="2649728"/>
            <a:ext cx="506504" cy="506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E920D8F-11A1-4692-BCC2-0C06C46C7138}"/>
              </a:ext>
            </a:extLst>
          </p:cNvPr>
          <p:cNvSpPr txBox="1"/>
          <p:nvPr/>
        </p:nvSpPr>
        <p:spPr>
          <a:xfrm>
            <a:off x="5320453" y="1362967"/>
            <a:ext cx="71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/>
              <a:t>Train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FC67D7-2D13-445E-A834-5169E897C4FC}"/>
              </a:ext>
            </a:extLst>
          </p:cNvPr>
          <p:cNvCxnSpPr>
            <a:cxnSpLocks/>
          </p:cNvCxnSpPr>
          <p:nvPr/>
        </p:nvCxnSpPr>
        <p:spPr>
          <a:xfrm>
            <a:off x="4577080" y="1278300"/>
            <a:ext cx="0" cy="5098793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065B84E0-31F4-4CE0-9BFA-B5B019CF4243}"/>
              </a:ext>
            </a:extLst>
          </p:cNvPr>
          <p:cNvCxnSpPr>
            <a:cxnSpLocks/>
          </p:cNvCxnSpPr>
          <p:nvPr/>
        </p:nvCxnSpPr>
        <p:spPr>
          <a:xfrm>
            <a:off x="7035800" y="1274914"/>
            <a:ext cx="0" cy="5098793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E4F798A3-091E-46AA-A736-70E669702BA3}"/>
              </a:ext>
            </a:extLst>
          </p:cNvPr>
          <p:cNvCxnSpPr>
            <a:cxnSpLocks/>
          </p:cNvCxnSpPr>
          <p:nvPr/>
        </p:nvCxnSpPr>
        <p:spPr>
          <a:xfrm>
            <a:off x="9352280" y="1274914"/>
            <a:ext cx="0" cy="5098793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>
            <a:extLst>
              <a:ext uri="{FF2B5EF4-FFF2-40B4-BE49-F238E27FC236}">
                <a16:creationId xmlns:a16="http://schemas.microsoft.com/office/drawing/2014/main" id="{A3128561-A1B2-4687-8618-227359770898}"/>
              </a:ext>
            </a:extLst>
          </p:cNvPr>
          <p:cNvSpPr txBox="1"/>
          <p:nvPr/>
        </p:nvSpPr>
        <p:spPr>
          <a:xfrm>
            <a:off x="7540395" y="1362967"/>
            <a:ext cx="13436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/>
              <a:t>Validation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DD06631F-7809-40CB-B3FC-1ABF205F8572}"/>
              </a:ext>
            </a:extLst>
          </p:cNvPr>
          <p:cNvSpPr txBox="1"/>
          <p:nvPr/>
        </p:nvSpPr>
        <p:spPr>
          <a:xfrm>
            <a:off x="9938597" y="1362967"/>
            <a:ext cx="13436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/>
              <a:t>Craigslis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6531F54-ECC8-4697-A3E1-B957BC353732}"/>
              </a:ext>
            </a:extLst>
          </p:cNvPr>
          <p:cNvSpPr txBox="1"/>
          <p:nvPr/>
        </p:nvSpPr>
        <p:spPr>
          <a:xfrm>
            <a:off x="5261949" y="2026746"/>
            <a:ext cx="927184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/>
              <a:t>79.5%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95FF522F-BEFF-41DD-91A4-746F3123B63B}"/>
              </a:ext>
            </a:extLst>
          </p:cNvPr>
          <p:cNvSpPr txBox="1"/>
          <p:nvPr/>
        </p:nvSpPr>
        <p:spPr>
          <a:xfrm>
            <a:off x="7665214" y="2026746"/>
            <a:ext cx="98298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/>
              <a:t>70.8%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35A3E92B-CD5C-421A-90F4-89FE407B2469}"/>
              </a:ext>
            </a:extLst>
          </p:cNvPr>
          <p:cNvSpPr txBox="1"/>
          <p:nvPr/>
        </p:nvSpPr>
        <p:spPr>
          <a:xfrm>
            <a:off x="10077310" y="2049159"/>
            <a:ext cx="1056198" cy="369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/>
              <a:t>57%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4FFC5BF5-63C8-43C0-9B51-05A0554F85F4}"/>
              </a:ext>
            </a:extLst>
          </p:cNvPr>
          <p:cNvSpPr txBox="1"/>
          <p:nvPr/>
        </p:nvSpPr>
        <p:spPr>
          <a:xfrm>
            <a:off x="5315149" y="2718837"/>
            <a:ext cx="927184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/>
              <a:t>73.7%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A9E78826-6B60-4734-967D-4C3D5BA2E2C1}"/>
              </a:ext>
            </a:extLst>
          </p:cNvPr>
          <p:cNvSpPr txBox="1"/>
          <p:nvPr/>
        </p:nvSpPr>
        <p:spPr>
          <a:xfrm>
            <a:off x="7707208" y="2707631"/>
            <a:ext cx="98298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/>
              <a:t>69.1%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BAE61534-2E6B-4949-9C54-ECC679663633}"/>
              </a:ext>
            </a:extLst>
          </p:cNvPr>
          <p:cNvSpPr txBox="1"/>
          <p:nvPr/>
        </p:nvSpPr>
        <p:spPr>
          <a:xfrm>
            <a:off x="10052069" y="2718838"/>
            <a:ext cx="1056198" cy="369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/>
              <a:t>59%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0722AB56-9D27-438B-8CE7-1096973FF999}"/>
              </a:ext>
            </a:extLst>
          </p:cNvPr>
          <p:cNvSpPr txBox="1"/>
          <p:nvPr/>
        </p:nvSpPr>
        <p:spPr>
          <a:xfrm>
            <a:off x="5315149" y="4139176"/>
            <a:ext cx="927184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/>
              <a:t>63.9%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81421612-D948-45B7-A876-8C9DFC6EABE0}"/>
              </a:ext>
            </a:extLst>
          </p:cNvPr>
          <p:cNvSpPr txBox="1"/>
          <p:nvPr/>
        </p:nvSpPr>
        <p:spPr>
          <a:xfrm>
            <a:off x="7662385" y="4139176"/>
            <a:ext cx="982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/>
              <a:t>54.7%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041F7293-D7C7-4851-8450-9D12CAF0F135}"/>
              </a:ext>
            </a:extLst>
          </p:cNvPr>
          <p:cNvSpPr txBox="1"/>
          <p:nvPr/>
        </p:nvSpPr>
        <p:spPr>
          <a:xfrm>
            <a:off x="10052069" y="4139177"/>
            <a:ext cx="1056198" cy="369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/>
              <a:t>39.2%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319BBAA4-5F35-40F0-9D27-56E1696ACEB3}"/>
              </a:ext>
            </a:extLst>
          </p:cNvPr>
          <p:cNvSpPr txBox="1"/>
          <p:nvPr/>
        </p:nvSpPr>
        <p:spPr>
          <a:xfrm>
            <a:off x="5303943" y="4851536"/>
            <a:ext cx="927184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/>
              <a:t>79.6%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24BEAEDC-1B48-4206-B4FA-5BB5490E82E1}"/>
              </a:ext>
            </a:extLst>
          </p:cNvPr>
          <p:cNvSpPr txBox="1"/>
          <p:nvPr/>
        </p:nvSpPr>
        <p:spPr>
          <a:xfrm>
            <a:off x="7707208" y="4862742"/>
            <a:ext cx="98298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/>
              <a:t>71.9%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3393C950-999B-4B88-A849-327D11EE0899}"/>
              </a:ext>
            </a:extLst>
          </p:cNvPr>
          <p:cNvSpPr txBox="1"/>
          <p:nvPr/>
        </p:nvSpPr>
        <p:spPr>
          <a:xfrm>
            <a:off x="10052069" y="4862743"/>
            <a:ext cx="1056198" cy="369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/>
              <a:t>60%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A57A64C0-A34F-4529-A630-75D3C82F5F2D}"/>
              </a:ext>
            </a:extLst>
          </p:cNvPr>
          <p:cNvSpPr txBox="1"/>
          <p:nvPr/>
        </p:nvSpPr>
        <p:spPr>
          <a:xfrm>
            <a:off x="5303943" y="5546703"/>
            <a:ext cx="927184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>
                <a:ea typeface="+mn-lt"/>
                <a:cs typeface="+mn-lt"/>
              </a:rPr>
              <a:t>75.4%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B95026DE-DD33-4A3D-AC73-A52AE90A445B}"/>
              </a:ext>
            </a:extLst>
          </p:cNvPr>
          <p:cNvSpPr txBox="1"/>
          <p:nvPr/>
        </p:nvSpPr>
        <p:spPr>
          <a:xfrm>
            <a:off x="7707208" y="5546703"/>
            <a:ext cx="98298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>
                <a:ea typeface="+mn-lt"/>
                <a:cs typeface="+mn-lt"/>
              </a:rPr>
              <a:t>70.4%</a:t>
            </a:r>
          </a:p>
          <a:p>
            <a:endParaRPr lang="en-IN">
              <a:cs typeface="Calibri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2C134FFD-9053-44B5-B4EC-70E30A459622}"/>
              </a:ext>
            </a:extLst>
          </p:cNvPr>
          <p:cNvSpPr txBox="1"/>
          <p:nvPr/>
        </p:nvSpPr>
        <p:spPr>
          <a:xfrm>
            <a:off x="10052069" y="5546704"/>
            <a:ext cx="105619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>
                <a:ea typeface="+mn-lt"/>
                <a:cs typeface="+mn-lt"/>
              </a:rPr>
              <a:t>62.8%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DE2FBB67-E34A-4BD8-9180-9D0DF72046D8}"/>
              </a:ext>
            </a:extLst>
          </p:cNvPr>
          <p:cNvSpPr/>
          <p:nvPr/>
        </p:nvSpPr>
        <p:spPr>
          <a:xfrm>
            <a:off x="1635744" y="3327382"/>
            <a:ext cx="2532595" cy="59552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3E4D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rgbClr val="6B6B6B"/>
                </a:solidFill>
              </a:rPr>
              <a:t>    Decision Tre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A537673-5469-44AC-9DE6-60E8EE136095}"/>
              </a:ext>
            </a:extLst>
          </p:cNvPr>
          <p:cNvSpPr txBox="1"/>
          <p:nvPr/>
        </p:nvSpPr>
        <p:spPr>
          <a:xfrm>
            <a:off x="10052069" y="3447220"/>
            <a:ext cx="1056198" cy="369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/>
              <a:t>41.2%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2E5C720-097B-4E45-B76E-FE8ED7DCE248}"/>
              </a:ext>
            </a:extLst>
          </p:cNvPr>
          <p:cNvSpPr txBox="1"/>
          <p:nvPr/>
        </p:nvSpPr>
        <p:spPr>
          <a:xfrm>
            <a:off x="7707208" y="3436013"/>
            <a:ext cx="98298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/>
              <a:t>56%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A299819-3D78-485B-8A67-3DE24BD00C67}"/>
              </a:ext>
            </a:extLst>
          </p:cNvPr>
          <p:cNvSpPr txBox="1"/>
          <p:nvPr/>
        </p:nvSpPr>
        <p:spPr>
          <a:xfrm>
            <a:off x="5315149" y="3436013"/>
            <a:ext cx="927184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/>
              <a:t>71.2%</a:t>
            </a:r>
          </a:p>
        </p:txBody>
      </p:sp>
      <p:pic>
        <p:nvPicPr>
          <p:cNvPr id="41" name="Picture 14" descr="Image result for naive bayes icon">
            <a:extLst>
              <a:ext uri="{FF2B5EF4-FFF2-40B4-BE49-F238E27FC236}">
                <a16:creationId xmlns:a16="http://schemas.microsoft.com/office/drawing/2014/main" id="{A0D72DDA-2E10-44E5-87A6-C3AB183B62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6064" y="3330142"/>
            <a:ext cx="566448" cy="566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C7907437-8BAE-415D-8CA1-F6FF0B5ECB6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3400" y="1738119"/>
            <a:ext cx="965200" cy="731695"/>
          </a:xfrm>
          <a:prstGeom prst="rect">
            <a:avLst/>
          </a:prstGeom>
        </p:spPr>
      </p:pic>
      <p:pic>
        <p:nvPicPr>
          <p:cNvPr id="46" name="Picture 8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2F20C40A-9FC1-46BC-9DF6-E057372C018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3399" y="2423918"/>
            <a:ext cx="965200" cy="731695"/>
          </a:xfrm>
          <a:prstGeom prst="rect">
            <a:avLst/>
          </a:prstGeom>
        </p:spPr>
      </p:pic>
      <p:pic>
        <p:nvPicPr>
          <p:cNvPr id="47" name="Picture 8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8EEEAF44-E366-4A00-A750-C4591282E28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3400" y="3185919"/>
            <a:ext cx="965200" cy="731695"/>
          </a:xfrm>
          <a:prstGeom prst="rect">
            <a:avLst/>
          </a:prstGeom>
        </p:spPr>
      </p:pic>
      <p:pic>
        <p:nvPicPr>
          <p:cNvPr id="48" name="Picture 8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A5765776-4073-4163-9E8B-07EF3DDDA80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3400" y="3897119"/>
            <a:ext cx="965200" cy="731695"/>
          </a:xfrm>
          <a:prstGeom prst="rect">
            <a:avLst/>
          </a:prstGeom>
        </p:spPr>
      </p:pic>
      <p:pic>
        <p:nvPicPr>
          <p:cNvPr id="49" name="Picture 8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79E73F6F-4BB9-4949-B60F-7C52F38ECDA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3399" y="4557518"/>
            <a:ext cx="965200" cy="731695"/>
          </a:xfrm>
          <a:prstGeom prst="rect">
            <a:avLst/>
          </a:prstGeom>
        </p:spPr>
      </p:pic>
      <p:pic>
        <p:nvPicPr>
          <p:cNvPr id="9" name="Picture 9">
            <a:extLst>
              <a:ext uri="{FF2B5EF4-FFF2-40B4-BE49-F238E27FC236}">
                <a16:creationId xmlns:a16="http://schemas.microsoft.com/office/drawing/2014/main" id="{5332EAF7-AE65-4A4F-9B77-76A0D4B995C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8067" y="5302702"/>
            <a:ext cx="821267" cy="765328"/>
          </a:xfrm>
          <a:prstGeom prst="rect">
            <a:avLst/>
          </a:prstGeom>
        </p:spPr>
      </p:pic>
      <p:pic>
        <p:nvPicPr>
          <p:cNvPr id="50" name="Picture 49" descr="A picture containing black, indoor, sitting, top&#10;&#10;Description automatically generated">
            <a:extLst>
              <a:ext uri="{FF2B5EF4-FFF2-40B4-BE49-F238E27FC236}">
                <a16:creationId xmlns:a16="http://schemas.microsoft.com/office/drawing/2014/main" id="{97237D3B-90A8-4FE8-BFC1-604FE483BA3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3800" b="95855" l="7005" r="91896">
                        <a14:foregroundMark x1="12225" y1="29879" x2="12225" y2="29879"/>
                        <a14:foregroundMark x1="50275" y1="13299" x2="50275" y2="13299"/>
                        <a14:foregroundMark x1="86951" y1="51295" x2="86951" y2="51295"/>
                        <a14:foregroundMark x1="45742" y1="31952" x2="45742" y2="31952"/>
                        <a14:foregroundMark x1="48626" y1="39724" x2="50687" y2="39724"/>
                        <a14:foregroundMark x1="50275" y1="11917" x2="50275" y2="4145"/>
                        <a14:foregroundMark x1="7692" y1="31088" x2="13599" y2="30570"/>
                        <a14:foregroundMark x1="13187" y1="74611" x2="13187" y2="67703"/>
                        <a14:foregroundMark x1="50687" y1="95855" x2="49863" y2="88428"/>
                        <a14:foregroundMark x1="90522" y1="51295" x2="91896" y2="43523"/>
                        <a14:foregroundMark x1="7005" y1="73402" x2="7418" y2="69430"/>
                        <a14:foregroundMark x1="11813" y1="30570" x2="15659" y2="30570"/>
                        <a14:foregroundMark x1="50687" y1="37133" x2="51786" y2="38860"/>
                        <a14:foregroundMark x1="49863" y1="38342" x2="49863" y2="31434"/>
                        <a14:foregroundMark x1="51374" y1="65630" x2="49863" y2="59067"/>
                        <a14:foregroundMark x1="50275" y1="95337" x2="46841" y2="89637"/>
                        <a14:foregroundMark x1="88049" y1="53886" x2="83929" y2="45596"/>
                        <a14:foregroundMark x1="83929" y1="45596" x2="84341" y2="43523"/>
                        <a14:foregroundMark x1="21841" y1="23316" x2="28709" y2="18480"/>
                        <a14:backgroundMark x1="56456" y1="24180" x2="65110" y2="3247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710395" y="4827813"/>
            <a:ext cx="512742" cy="407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4965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ExL3jV_0mPZg0DK61p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SyqIcL.APmAdMCfmpl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ExL3jV_0mPZg0DK61p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DBH1eQ4_HYJoUoDOVIw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ExL3jV_0mPZg0DK61p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fydTrXAioJTq501DtN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ExL3jV_0mPZg0DK61pV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ExL3jV_0mPZg0DK61pV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ExL3jV_0mPZg0DK61pV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ExL3jV_0mPZg0DK61pV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tvSeeh30a8AT4cug3D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fydTrXAioJTq501DtN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tvSeeh30a8AT4cug3Db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Bmj6BIowjzRFd4_G1y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lice">
  <a:themeElements>
    <a:clrScheme name="Slice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Slice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lic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23</Slides>
  <Notes>6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25" baseType="lpstr">
      <vt:lpstr>Office Theme</vt:lpstr>
      <vt:lpstr>Slice</vt:lpstr>
      <vt:lpstr>genre filter FOR books sec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ppendix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dition of genre filter in books section</dc:title>
  <dc:creator>Jain, Shreyansh</dc:creator>
  <cp:revision>1</cp:revision>
  <dcterms:created xsi:type="dcterms:W3CDTF">2021-12-04T03:22:02Z</dcterms:created>
  <dcterms:modified xsi:type="dcterms:W3CDTF">2021-12-09T02:18:02Z</dcterms:modified>
</cp:coreProperties>
</file>